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2.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3.xml" ContentType="application/vnd.openxmlformats-officedocument.theme+xml"/>
  <Override PartName="/ppt/tags/tag231.xml" ContentType="application/vnd.openxmlformats-officedocument.presentationml.tags+xml"/>
  <Override PartName="/ppt/tags/tag232.xml" ContentType="application/vnd.openxmlformats-officedocument.presentationml.tags+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47" r:id="rId5"/>
    <p:sldMasterId id="2147483834" r:id="rId6"/>
    <p:sldMasterId id="2147483853" r:id="rId7"/>
  </p:sldMasterIdLst>
  <p:notesMasterIdLst>
    <p:notesMasterId r:id="rId18"/>
  </p:notesMasterIdLst>
  <p:sldIdLst>
    <p:sldId id="2147375753" r:id="rId8"/>
    <p:sldId id="2147375754" r:id="rId9"/>
    <p:sldId id="2147375755" r:id="rId10"/>
    <p:sldId id="2147375756" r:id="rId11"/>
    <p:sldId id="2147375757" r:id="rId12"/>
    <p:sldId id="2147375758" r:id="rId13"/>
    <p:sldId id="2147375759" r:id="rId14"/>
    <p:sldId id="2147375760" r:id="rId15"/>
    <p:sldId id="493" r:id="rId16"/>
    <p:sldId id="2147375761"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8CE56F-80AF-4E66-9150-288E6F61AEDB}" v="342" dt="2021-12-14T15:04:42.3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9" d="100"/>
          <a:sy n="89" d="100"/>
        </p:scale>
        <p:origin x="96" y="3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son, Daniel" userId="4fd6f56b-898f-4008-a6b4-11eaf568a331" providerId="ADAL" clId="{658CE56F-80AF-4E66-9150-288E6F61AEDB}"/>
    <pc:docChg chg="undo custSel addSld delSld modSld">
      <pc:chgData name="Robertson, Daniel" userId="4fd6f56b-898f-4008-a6b4-11eaf568a331" providerId="ADAL" clId="{658CE56F-80AF-4E66-9150-288E6F61AEDB}" dt="2021-12-14T15:04:42.331" v="4632" actId="13822"/>
      <pc:docMkLst>
        <pc:docMk/>
      </pc:docMkLst>
      <pc:sldChg chg="add modTransition">
        <pc:chgData name="Robertson, Daniel" userId="4fd6f56b-898f-4008-a6b4-11eaf568a331" providerId="ADAL" clId="{658CE56F-80AF-4E66-9150-288E6F61AEDB}" dt="2021-12-14T15:02:07.351" v="4623"/>
        <pc:sldMkLst>
          <pc:docMk/>
          <pc:sldMk cId="2731073109" sldId="493"/>
        </pc:sldMkLst>
      </pc:sldChg>
      <pc:sldChg chg="del">
        <pc:chgData name="Robertson, Daniel" userId="4fd6f56b-898f-4008-a6b4-11eaf568a331" providerId="ADAL" clId="{658CE56F-80AF-4E66-9150-288E6F61AEDB}" dt="2021-12-09T17:00:37.086" v="4622" actId="47"/>
        <pc:sldMkLst>
          <pc:docMk/>
          <pc:sldMk cId="1856581679" sldId="724"/>
        </pc:sldMkLst>
      </pc:sldChg>
      <pc:sldChg chg="del">
        <pc:chgData name="Robertson, Daniel" userId="4fd6f56b-898f-4008-a6b4-11eaf568a331" providerId="ADAL" clId="{658CE56F-80AF-4E66-9150-288E6F61AEDB}" dt="2021-12-09T17:00:37.086" v="4622" actId="47"/>
        <pc:sldMkLst>
          <pc:docMk/>
          <pc:sldMk cId="399734770" sldId="2147375687"/>
        </pc:sldMkLst>
      </pc:sldChg>
      <pc:sldChg chg="del">
        <pc:chgData name="Robertson, Daniel" userId="4fd6f56b-898f-4008-a6b4-11eaf568a331" providerId="ADAL" clId="{658CE56F-80AF-4E66-9150-288E6F61AEDB}" dt="2021-12-09T17:00:37.086" v="4622" actId="47"/>
        <pc:sldMkLst>
          <pc:docMk/>
          <pc:sldMk cId="3523304303" sldId="2147375712"/>
        </pc:sldMkLst>
      </pc:sldChg>
      <pc:sldChg chg="del">
        <pc:chgData name="Robertson, Daniel" userId="4fd6f56b-898f-4008-a6b4-11eaf568a331" providerId="ADAL" clId="{658CE56F-80AF-4E66-9150-288E6F61AEDB}" dt="2021-12-09T17:00:37.086" v="4622" actId="47"/>
        <pc:sldMkLst>
          <pc:docMk/>
          <pc:sldMk cId="571051800" sldId="2147375713"/>
        </pc:sldMkLst>
      </pc:sldChg>
      <pc:sldChg chg="del">
        <pc:chgData name="Robertson, Daniel" userId="4fd6f56b-898f-4008-a6b4-11eaf568a331" providerId="ADAL" clId="{658CE56F-80AF-4E66-9150-288E6F61AEDB}" dt="2021-12-09T17:00:37.086" v="4622" actId="47"/>
        <pc:sldMkLst>
          <pc:docMk/>
          <pc:sldMk cId="3103647082" sldId="2147375714"/>
        </pc:sldMkLst>
      </pc:sldChg>
      <pc:sldChg chg="del">
        <pc:chgData name="Robertson, Daniel" userId="4fd6f56b-898f-4008-a6b4-11eaf568a331" providerId="ADAL" clId="{658CE56F-80AF-4E66-9150-288E6F61AEDB}" dt="2021-12-09T17:00:37.086" v="4622" actId="47"/>
        <pc:sldMkLst>
          <pc:docMk/>
          <pc:sldMk cId="3062769025" sldId="2147375715"/>
        </pc:sldMkLst>
      </pc:sldChg>
      <pc:sldChg chg="del">
        <pc:chgData name="Robertson, Daniel" userId="4fd6f56b-898f-4008-a6b4-11eaf568a331" providerId="ADAL" clId="{658CE56F-80AF-4E66-9150-288E6F61AEDB}" dt="2021-12-09T17:00:37.086" v="4622" actId="47"/>
        <pc:sldMkLst>
          <pc:docMk/>
          <pc:sldMk cId="3703966904" sldId="2147375716"/>
        </pc:sldMkLst>
      </pc:sldChg>
      <pc:sldChg chg="del">
        <pc:chgData name="Robertson, Daniel" userId="4fd6f56b-898f-4008-a6b4-11eaf568a331" providerId="ADAL" clId="{658CE56F-80AF-4E66-9150-288E6F61AEDB}" dt="2021-12-09T17:00:37.086" v="4622" actId="47"/>
        <pc:sldMkLst>
          <pc:docMk/>
          <pc:sldMk cId="3927488182" sldId="2147375717"/>
        </pc:sldMkLst>
      </pc:sldChg>
      <pc:sldChg chg="del">
        <pc:chgData name="Robertson, Daniel" userId="4fd6f56b-898f-4008-a6b4-11eaf568a331" providerId="ADAL" clId="{658CE56F-80AF-4E66-9150-288E6F61AEDB}" dt="2021-12-09T17:00:37.086" v="4622" actId="47"/>
        <pc:sldMkLst>
          <pc:docMk/>
          <pc:sldMk cId="656821609" sldId="2147375718"/>
        </pc:sldMkLst>
      </pc:sldChg>
      <pc:sldChg chg="del">
        <pc:chgData name="Robertson, Daniel" userId="4fd6f56b-898f-4008-a6b4-11eaf568a331" providerId="ADAL" clId="{658CE56F-80AF-4E66-9150-288E6F61AEDB}" dt="2021-12-09T17:00:37.086" v="4622" actId="47"/>
        <pc:sldMkLst>
          <pc:docMk/>
          <pc:sldMk cId="3730070825" sldId="2147375725"/>
        </pc:sldMkLst>
      </pc:sldChg>
      <pc:sldChg chg="del">
        <pc:chgData name="Robertson, Daniel" userId="4fd6f56b-898f-4008-a6b4-11eaf568a331" providerId="ADAL" clId="{658CE56F-80AF-4E66-9150-288E6F61AEDB}" dt="2021-12-09T17:00:37.086" v="4622" actId="47"/>
        <pc:sldMkLst>
          <pc:docMk/>
          <pc:sldMk cId="4121368336" sldId="2147375726"/>
        </pc:sldMkLst>
      </pc:sldChg>
      <pc:sldChg chg="del">
        <pc:chgData name="Robertson, Daniel" userId="4fd6f56b-898f-4008-a6b4-11eaf568a331" providerId="ADAL" clId="{658CE56F-80AF-4E66-9150-288E6F61AEDB}" dt="2021-12-09T17:00:37.086" v="4622" actId="47"/>
        <pc:sldMkLst>
          <pc:docMk/>
          <pc:sldMk cId="1961455667" sldId="2147375727"/>
        </pc:sldMkLst>
      </pc:sldChg>
      <pc:sldChg chg="del">
        <pc:chgData name="Robertson, Daniel" userId="4fd6f56b-898f-4008-a6b4-11eaf568a331" providerId="ADAL" clId="{658CE56F-80AF-4E66-9150-288E6F61AEDB}" dt="2021-12-09T17:00:37.086" v="4622" actId="47"/>
        <pc:sldMkLst>
          <pc:docMk/>
          <pc:sldMk cId="815170480" sldId="2147375728"/>
        </pc:sldMkLst>
      </pc:sldChg>
      <pc:sldChg chg="del">
        <pc:chgData name="Robertson, Daniel" userId="4fd6f56b-898f-4008-a6b4-11eaf568a331" providerId="ADAL" clId="{658CE56F-80AF-4E66-9150-288E6F61AEDB}" dt="2021-12-09T17:00:37.086" v="4622" actId="47"/>
        <pc:sldMkLst>
          <pc:docMk/>
          <pc:sldMk cId="173508202" sldId="2147375743"/>
        </pc:sldMkLst>
      </pc:sldChg>
      <pc:sldChg chg="del">
        <pc:chgData name="Robertson, Daniel" userId="4fd6f56b-898f-4008-a6b4-11eaf568a331" providerId="ADAL" clId="{658CE56F-80AF-4E66-9150-288E6F61AEDB}" dt="2021-12-09T17:00:37.086" v="4622" actId="47"/>
        <pc:sldMkLst>
          <pc:docMk/>
          <pc:sldMk cId="1428334645" sldId="2147375744"/>
        </pc:sldMkLst>
      </pc:sldChg>
      <pc:sldChg chg="modSp del mod">
        <pc:chgData name="Robertson, Daniel" userId="4fd6f56b-898f-4008-a6b4-11eaf568a331" providerId="ADAL" clId="{658CE56F-80AF-4E66-9150-288E6F61AEDB}" dt="2021-12-09T17:00:37.086" v="4622" actId="47"/>
        <pc:sldMkLst>
          <pc:docMk/>
          <pc:sldMk cId="725650127" sldId="2147375745"/>
        </pc:sldMkLst>
        <pc:spChg chg="mod">
          <ac:chgData name="Robertson, Daniel" userId="4fd6f56b-898f-4008-a6b4-11eaf568a331" providerId="ADAL" clId="{658CE56F-80AF-4E66-9150-288E6F61AEDB}" dt="2021-12-08T09:44:04.752" v="6" actId="14100"/>
          <ac:spMkLst>
            <pc:docMk/>
            <pc:sldMk cId="725650127" sldId="2147375745"/>
            <ac:spMk id="2" creationId="{29AA315B-BE73-4DA2-A0B2-B55FA2E6D238}"/>
          </ac:spMkLst>
        </pc:spChg>
      </pc:sldChg>
      <pc:sldChg chg="addSp delSp modSp new del mod">
        <pc:chgData name="Robertson, Daniel" userId="4fd6f56b-898f-4008-a6b4-11eaf568a331" providerId="ADAL" clId="{658CE56F-80AF-4E66-9150-288E6F61AEDB}" dt="2021-12-09T17:00:37.086" v="4622" actId="47"/>
        <pc:sldMkLst>
          <pc:docMk/>
          <pc:sldMk cId="3591788773" sldId="2147375746"/>
        </pc:sldMkLst>
        <pc:spChg chg="del">
          <ac:chgData name="Robertson, Daniel" userId="4fd6f56b-898f-4008-a6b4-11eaf568a331" providerId="ADAL" clId="{658CE56F-80AF-4E66-9150-288E6F61AEDB}" dt="2021-12-08T09:49:14.803" v="8"/>
          <ac:spMkLst>
            <pc:docMk/>
            <pc:sldMk cId="3591788773" sldId="2147375746"/>
            <ac:spMk id="2" creationId="{AF683BF8-7C45-4E82-9813-B90A6653A2EA}"/>
          </ac:spMkLst>
        </pc:spChg>
        <pc:spChg chg="del">
          <ac:chgData name="Robertson, Daniel" userId="4fd6f56b-898f-4008-a6b4-11eaf568a331" providerId="ADAL" clId="{658CE56F-80AF-4E66-9150-288E6F61AEDB}" dt="2021-12-08T09:49:14.803" v="8"/>
          <ac:spMkLst>
            <pc:docMk/>
            <pc:sldMk cId="3591788773" sldId="2147375746"/>
            <ac:spMk id="3" creationId="{008DCDC6-90EA-42A3-AC95-C003469243FE}"/>
          </ac:spMkLst>
        </pc:spChg>
        <pc:spChg chg="del">
          <ac:chgData name="Robertson, Daniel" userId="4fd6f56b-898f-4008-a6b4-11eaf568a331" providerId="ADAL" clId="{658CE56F-80AF-4E66-9150-288E6F61AEDB}" dt="2021-12-08T09:49:14.803" v="8"/>
          <ac:spMkLst>
            <pc:docMk/>
            <pc:sldMk cId="3591788773" sldId="2147375746"/>
            <ac:spMk id="4" creationId="{EBE55FE9-FD26-4424-813C-7B5E0B44E928}"/>
          </ac:spMkLst>
        </pc:spChg>
        <pc:spChg chg="add mod">
          <ac:chgData name="Robertson, Daniel" userId="4fd6f56b-898f-4008-a6b4-11eaf568a331" providerId="ADAL" clId="{658CE56F-80AF-4E66-9150-288E6F61AEDB}" dt="2021-12-08T09:49:29.319" v="48" actId="20577"/>
          <ac:spMkLst>
            <pc:docMk/>
            <pc:sldMk cId="3591788773" sldId="2147375746"/>
            <ac:spMk id="5" creationId="{976A9861-ECAB-4ECC-A89E-631768C07B23}"/>
          </ac:spMkLst>
        </pc:spChg>
        <pc:spChg chg="add mod">
          <ac:chgData name="Robertson, Daniel" userId="4fd6f56b-898f-4008-a6b4-11eaf568a331" providerId="ADAL" clId="{658CE56F-80AF-4E66-9150-288E6F61AEDB}" dt="2021-12-08T10:51:44.372" v="648" actId="20577"/>
          <ac:spMkLst>
            <pc:docMk/>
            <pc:sldMk cId="3591788773" sldId="2147375746"/>
            <ac:spMk id="6" creationId="{D4485F75-D66B-4DBB-A40F-A379785FF57D}"/>
          </ac:spMkLst>
        </pc:spChg>
      </pc:sldChg>
      <pc:sldChg chg="addSp delSp modSp add del mod">
        <pc:chgData name="Robertson, Daniel" userId="4fd6f56b-898f-4008-a6b4-11eaf568a331" providerId="ADAL" clId="{658CE56F-80AF-4E66-9150-288E6F61AEDB}" dt="2021-12-09T17:00:37.086" v="4622" actId="47"/>
        <pc:sldMkLst>
          <pc:docMk/>
          <pc:sldMk cId="2396773110" sldId="2147375747"/>
        </pc:sldMkLst>
        <pc:spChg chg="add del mod">
          <ac:chgData name="Robertson, Daniel" userId="4fd6f56b-898f-4008-a6b4-11eaf568a331" providerId="ADAL" clId="{658CE56F-80AF-4E66-9150-288E6F61AEDB}" dt="2021-12-08T10:49:37.497" v="611"/>
          <ac:spMkLst>
            <pc:docMk/>
            <pc:sldMk cId="2396773110" sldId="2147375747"/>
            <ac:spMk id="4" creationId="{12CDF893-B947-47FA-869C-70FC13FD2EA7}"/>
          </ac:spMkLst>
        </pc:spChg>
        <pc:spChg chg="mod">
          <ac:chgData name="Robertson, Daniel" userId="4fd6f56b-898f-4008-a6b4-11eaf568a331" providerId="ADAL" clId="{658CE56F-80AF-4E66-9150-288E6F61AEDB}" dt="2021-12-08T10:55:56.368" v="664" actId="1076"/>
          <ac:spMkLst>
            <pc:docMk/>
            <pc:sldMk cId="2396773110" sldId="2147375747"/>
            <ac:spMk id="5" creationId="{976A9861-ECAB-4ECC-A89E-631768C07B23}"/>
          </ac:spMkLst>
        </pc:spChg>
        <pc:spChg chg="mod">
          <ac:chgData name="Robertson, Daniel" userId="4fd6f56b-898f-4008-a6b4-11eaf568a331" providerId="ADAL" clId="{658CE56F-80AF-4E66-9150-288E6F61AEDB}" dt="2021-12-08T10:56:00.360" v="665" actId="1076"/>
          <ac:spMkLst>
            <pc:docMk/>
            <pc:sldMk cId="2396773110" sldId="2147375747"/>
            <ac:spMk id="6" creationId="{D4485F75-D66B-4DBB-A40F-A379785FF57D}"/>
          </ac:spMkLst>
        </pc:spChg>
        <pc:spChg chg="add del mod">
          <ac:chgData name="Robertson, Daniel" userId="4fd6f56b-898f-4008-a6b4-11eaf568a331" providerId="ADAL" clId="{658CE56F-80AF-4E66-9150-288E6F61AEDB}" dt="2021-12-08T10:49:37.497" v="611"/>
          <ac:spMkLst>
            <pc:docMk/>
            <pc:sldMk cId="2396773110" sldId="2147375747"/>
            <ac:spMk id="7" creationId="{B5798519-97A7-4421-B26C-47941E8F2B4E}"/>
          </ac:spMkLst>
        </pc:spChg>
        <pc:spChg chg="add del mod">
          <ac:chgData name="Robertson, Daniel" userId="4fd6f56b-898f-4008-a6b4-11eaf568a331" providerId="ADAL" clId="{658CE56F-80AF-4E66-9150-288E6F61AEDB}" dt="2021-12-08T10:49:37.497" v="611"/>
          <ac:spMkLst>
            <pc:docMk/>
            <pc:sldMk cId="2396773110" sldId="2147375747"/>
            <ac:spMk id="8" creationId="{90785524-01FA-46A7-A5AF-596EE9B9F60F}"/>
          </ac:spMkLst>
        </pc:spChg>
        <pc:spChg chg="add del mod">
          <ac:chgData name="Robertson, Daniel" userId="4fd6f56b-898f-4008-a6b4-11eaf568a331" providerId="ADAL" clId="{658CE56F-80AF-4E66-9150-288E6F61AEDB}" dt="2021-12-08T10:49:37.497" v="611"/>
          <ac:spMkLst>
            <pc:docMk/>
            <pc:sldMk cId="2396773110" sldId="2147375747"/>
            <ac:spMk id="9" creationId="{52516001-EB30-4326-958B-A906AEA6F24A}"/>
          </ac:spMkLst>
        </pc:spChg>
        <pc:spChg chg="add del mod">
          <ac:chgData name="Robertson, Daniel" userId="4fd6f56b-898f-4008-a6b4-11eaf568a331" providerId="ADAL" clId="{658CE56F-80AF-4E66-9150-288E6F61AEDB}" dt="2021-12-08T10:49:37.497" v="611"/>
          <ac:spMkLst>
            <pc:docMk/>
            <pc:sldMk cId="2396773110" sldId="2147375747"/>
            <ac:spMk id="10" creationId="{1E83513D-2A55-4127-A729-5711B5A40134}"/>
          </ac:spMkLst>
        </pc:spChg>
        <pc:spChg chg="add del mod">
          <ac:chgData name="Robertson, Daniel" userId="4fd6f56b-898f-4008-a6b4-11eaf568a331" providerId="ADAL" clId="{658CE56F-80AF-4E66-9150-288E6F61AEDB}" dt="2021-12-08T10:49:37.497" v="611"/>
          <ac:spMkLst>
            <pc:docMk/>
            <pc:sldMk cId="2396773110" sldId="2147375747"/>
            <ac:spMk id="11" creationId="{5B0AC245-6A7F-4875-8BB0-5573F2C42969}"/>
          </ac:spMkLst>
        </pc:spChg>
        <pc:spChg chg="add del mod">
          <ac:chgData name="Robertson, Daniel" userId="4fd6f56b-898f-4008-a6b4-11eaf568a331" providerId="ADAL" clId="{658CE56F-80AF-4E66-9150-288E6F61AEDB}" dt="2021-12-08T10:49:37.497" v="611"/>
          <ac:spMkLst>
            <pc:docMk/>
            <pc:sldMk cId="2396773110" sldId="2147375747"/>
            <ac:spMk id="12" creationId="{CD0D37F1-FAAF-4F48-864B-629283F41E0C}"/>
          </ac:spMkLst>
        </pc:spChg>
        <pc:spChg chg="add del mod">
          <ac:chgData name="Robertson, Daniel" userId="4fd6f56b-898f-4008-a6b4-11eaf568a331" providerId="ADAL" clId="{658CE56F-80AF-4E66-9150-288E6F61AEDB}" dt="2021-12-08T10:49:37.497" v="611"/>
          <ac:spMkLst>
            <pc:docMk/>
            <pc:sldMk cId="2396773110" sldId="2147375747"/>
            <ac:spMk id="13" creationId="{E8911B1A-F949-4B3F-A040-A29BCB79013B}"/>
          </ac:spMkLst>
        </pc:spChg>
        <pc:spChg chg="add del mod">
          <ac:chgData name="Robertson, Daniel" userId="4fd6f56b-898f-4008-a6b4-11eaf568a331" providerId="ADAL" clId="{658CE56F-80AF-4E66-9150-288E6F61AEDB}" dt="2021-12-08T10:49:37.497" v="611"/>
          <ac:spMkLst>
            <pc:docMk/>
            <pc:sldMk cId="2396773110" sldId="2147375747"/>
            <ac:spMk id="14" creationId="{6F1D0244-3A35-4EFB-A31D-4581CC272B48}"/>
          </ac:spMkLst>
        </pc:spChg>
        <pc:spChg chg="add del mod">
          <ac:chgData name="Robertson, Daniel" userId="4fd6f56b-898f-4008-a6b4-11eaf568a331" providerId="ADAL" clId="{658CE56F-80AF-4E66-9150-288E6F61AEDB}" dt="2021-12-08T10:49:37.497" v="611"/>
          <ac:spMkLst>
            <pc:docMk/>
            <pc:sldMk cId="2396773110" sldId="2147375747"/>
            <ac:spMk id="15" creationId="{92FF96AC-49D5-4E39-8A1F-1E9B5165071B}"/>
          </ac:spMkLst>
        </pc:spChg>
        <pc:spChg chg="add del mod">
          <ac:chgData name="Robertson, Daniel" userId="4fd6f56b-898f-4008-a6b4-11eaf568a331" providerId="ADAL" clId="{658CE56F-80AF-4E66-9150-288E6F61AEDB}" dt="2021-12-08T10:49:37.497" v="611"/>
          <ac:spMkLst>
            <pc:docMk/>
            <pc:sldMk cId="2396773110" sldId="2147375747"/>
            <ac:spMk id="16" creationId="{96F76AC4-337A-43D1-9E6F-8F1B759A55BF}"/>
          </ac:spMkLst>
        </pc:spChg>
        <pc:spChg chg="add del mod">
          <ac:chgData name="Robertson, Daniel" userId="4fd6f56b-898f-4008-a6b4-11eaf568a331" providerId="ADAL" clId="{658CE56F-80AF-4E66-9150-288E6F61AEDB}" dt="2021-12-08T10:49:37.497" v="611"/>
          <ac:spMkLst>
            <pc:docMk/>
            <pc:sldMk cId="2396773110" sldId="2147375747"/>
            <ac:spMk id="17" creationId="{46291B86-4805-4B28-8753-3D3A436EB91B}"/>
          </ac:spMkLst>
        </pc:spChg>
        <pc:spChg chg="add del mod">
          <ac:chgData name="Robertson, Daniel" userId="4fd6f56b-898f-4008-a6b4-11eaf568a331" providerId="ADAL" clId="{658CE56F-80AF-4E66-9150-288E6F61AEDB}" dt="2021-12-08T10:49:37.497" v="611"/>
          <ac:spMkLst>
            <pc:docMk/>
            <pc:sldMk cId="2396773110" sldId="2147375747"/>
            <ac:spMk id="18" creationId="{99E5AFF1-75D5-4622-94EA-3FAE3A78F6D0}"/>
          </ac:spMkLst>
        </pc:spChg>
        <pc:spChg chg="add del mod">
          <ac:chgData name="Robertson, Daniel" userId="4fd6f56b-898f-4008-a6b4-11eaf568a331" providerId="ADAL" clId="{658CE56F-80AF-4E66-9150-288E6F61AEDB}" dt="2021-12-08T10:49:37.497" v="611"/>
          <ac:spMkLst>
            <pc:docMk/>
            <pc:sldMk cId="2396773110" sldId="2147375747"/>
            <ac:spMk id="19" creationId="{4650C32A-1F91-4617-A33D-5E2924CCE1CC}"/>
          </ac:spMkLst>
        </pc:spChg>
        <pc:spChg chg="add del mod">
          <ac:chgData name="Robertson, Daniel" userId="4fd6f56b-898f-4008-a6b4-11eaf568a331" providerId="ADAL" clId="{658CE56F-80AF-4E66-9150-288E6F61AEDB}" dt="2021-12-08T10:49:37.497" v="611"/>
          <ac:spMkLst>
            <pc:docMk/>
            <pc:sldMk cId="2396773110" sldId="2147375747"/>
            <ac:spMk id="20" creationId="{F80E39E4-91EA-48E4-AC62-09151FCE8AFF}"/>
          </ac:spMkLst>
        </pc:spChg>
        <pc:spChg chg="add del mod">
          <ac:chgData name="Robertson, Daniel" userId="4fd6f56b-898f-4008-a6b4-11eaf568a331" providerId="ADAL" clId="{658CE56F-80AF-4E66-9150-288E6F61AEDB}" dt="2021-12-08T10:49:37.497" v="611"/>
          <ac:spMkLst>
            <pc:docMk/>
            <pc:sldMk cId="2396773110" sldId="2147375747"/>
            <ac:spMk id="21" creationId="{F27E6EB2-6183-4E6E-8571-F2BFD9DDD99F}"/>
          </ac:spMkLst>
        </pc:spChg>
        <pc:spChg chg="add del mod">
          <ac:chgData name="Robertson, Daniel" userId="4fd6f56b-898f-4008-a6b4-11eaf568a331" providerId="ADAL" clId="{658CE56F-80AF-4E66-9150-288E6F61AEDB}" dt="2021-12-08T10:49:37.497" v="611"/>
          <ac:spMkLst>
            <pc:docMk/>
            <pc:sldMk cId="2396773110" sldId="2147375747"/>
            <ac:spMk id="22" creationId="{D449F8C4-7CE1-449B-B69F-FA2AC050470D}"/>
          </ac:spMkLst>
        </pc:spChg>
        <pc:spChg chg="add del mod">
          <ac:chgData name="Robertson, Daniel" userId="4fd6f56b-898f-4008-a6b4-11eaf568a331" providerId="ADAL" clId="{658CE56F-80AF-4E66-9150-288E6F61AEDB}" dt="2021-12-08T10:49:37.497" v="611"/>
          <ac:spMkLst>
            <pc:docMk/>
            <pc:sldMk cId="2396773110" sldId="2147375747"/>
            <ac:spMk id="23" creationId="{63ACBCBC-4E72-4E32-AF04-55C5D4204F52}"/>
          </ac:spMkLst>
        </pc:spChg>
        <pc:spChg chg="add del mod">
          <ac:chgData name="Robertson, Daniel" userId="4fd6f56b-898f-4008-a6b4-11eaf568a331" providerId="ADAL" clId="{658CE56F-80AF-4E66-9150-288E6F61AEDB}" dt="2021-12-08T10:49:37.497" v="611"/>
          <ac:spMkLst>
            <pc:docMk/>
            <pc:sldMk cId="2396773110" sldId="2147375747"/>
            <ac:spMk id="24" creationId="{E3539277-5A0C-4384-A774-0BAD330ADBED}"/>
          </ac:spMkLst>
        </pc:spChg>
        <pc:spChg chg="add del mod">
          <ac:chgData name="Robertson, Daniel" userId="4fd6f56b-898f-4008-a6b4-11eaf568a331" providerId="ADAL" clId="{658CE56F-80AF-4E66-9150-288E6F61AEDB}" dt="2021-12-08T10:49:37.497" v="611"/>
          <ac:spMkLst>
            <pc:docMk/>
            <pc:sldMk cId="2396773110" sldId="2147375747"/>
            <ac:spMk id="25" creationId="{4568A6B7-57E8-4CC9-AD55-103179FE5365}"/>
          </ac:spMkLst>
        </pc:spChg>
        <pc:spChg chg="add del mod">
          <ac:chgData name="Robertson, Daniel" userId="4fd6f56b-898f-4008-a6b4-11eaf568a331" providerId="ADAL" clId="{658CE56F-80AF-4E66-9150-288E6F61AEDB}" dt="2021-12-08T10:49:37.497" v="611"/>
          <ac:spMkLst>
            <pc:docMk/>
            <pc:sldMk cId="2396773110" sldId="2147375747"/>
            <ac:spMk id="26" creationId="{6EC5EC65-56C0-4C0A-877F-B59E38D732C3}"/>
          </ac:spMkLst>
        </pc:spChg>
        <pc:spChg chg="add del mod">
          <ac:chgData name="Robertson, Daniel" userId="4fd6f56b-898f-4008-a6b4-11eaf568a331" providerId="ADAL" clId="{658CE56F-80AF-4E66-9150-288E6F61AEDB}" dt="2021-12-08T10:49:37.497" v="611"/>
          <ac:spMkLst>
            <pc:docMk/>
            <pc:sldMk cId="2396773110" sldId="2147375747"/>
            <ac:spMk id="27" creationId="{8E0062C2-9AF1-4E09-8D03-43660B83AE01}"/>
          </ac:spMkLst>
        </pc:spChg>
        <pc:spChg chg="mod">
          <ac:chgData name="Robertson, Daniel" userId="4fd6f56b-898f-4008-a6b4-11eaf568a331" providerId="ADAL" clId="{658CE56F-80AF-4E66-9150-288E6F61AEDB}" dt="2021-12-08T10:53:37.086" v="653"/>
          <ac:spMkLst>
            <pc:docMk/>
            <pc:sldMk cId="2396773110" sldId="2147375747"/>
            <ac:spMk id="29" creationId="{B853B0F1-C3C1-47D8-A7C5-0B5A2E6C5B8D}"/>
          </ac:spMkLst>
        </pc:spChg>
        <pc:spChg chg="mod">
          <ac:chgData name="Robertson, Daniel" userId="4fd6f56b-898f-4008-a6b4-11eaf568a331" providerId="ADAL" clId="{658CE56F-80AF-4E66-9150-288E6F61AEDB}" dt="2021-12-08T10:53:37.086" v="653"/>
          <ac:spMkLst>
            <pc:docMk/>
            <pc:sldMk cId="2396773110" sldId="2147375747"/>
            <ac:spMk id="30" creationId="{33C18EFF-84A3-4468-A88B-6FF7A363048B}"/>
          </ac:spMkLst>
        </pc:spChg>
        <pc:spChg chg="mod">
          <ac:chgData name="Robertson, Daniel" userId="4fd6f56b-898f-4008-a6b4-11eaf568a331" providerId="ADAL" clId="{658CE56F-80AF-4E66-9150-288E6F61AEDB}" dt="2021-12-08T10:53:37.086" v="653"/>
          <ac:spMkLst>
            <pc:docMk/>
            <pc:sldMk cId="2396773110" sldId="2147375747"/>
            <ac:spMk id="32" creationId="{43FC995C-07FF-4166-B5D0-5E01727BDB1D}"/>
          </ac:spMkLst>
        </pc:spChg>
        <pc:spChg chg="mod">
          <ac:chgData name="Robertson, Daniel" userId="4fd6f56b-898f-4008-a6b4-11eaf568a331" providerId="ADAL" clId="{658CE56F-80AF-4E66-9150-288E6F61AEDB}" dt="2021-12-08T10:53:37.086" v="653"/>
          <ac:spMkLst>
            <pc:docMk/>
            <pc:sldMk cId="2396773110" sldId="2147375747"/>
            <ac:spMk id="33" creationId="{2A32FADB-D56B-4A53-9F17-4481219BA45E}"/>
          </ac:spMkLst>
        </pc:spChg>
        <pc:spChg chg="mod">
          <ac:chgData name="Robertson, Daniel" userId="4fd6f56b-898f-4008-a6b4-11eaf568a331" providerId="ADAL" clId="{658CE56F-80AF-4E66-9150-288E6F61AEDB}" dt="2021-12-08T10:53:37.086" v="653"/>
          <ac:spMkLst>
            <pc:docMk/>
            <pc:sldMk cId="2396773110" sldId="2147375747"/>
            <ac:spMk id="34" creationId="{66D704A2-53DE-492C-A033-A8BA57119C42}"/>
          </ac:spMkLst>
        </pc:spChg>
        <pc:spChg chg="mod">
          <ac:chgData name="Robertson, Daniel" userId="4fd6f56b-898f-4008-a6b4-11eaf568a331" providerId="ADAL" clId="{658CE56F-80AF-4E66-9150-288E6F61AEDB}" dt="2021-12-08T10:53:37.086" v="653"/>
          <ac:spMkLst>
            <pc:docMk/>
            <pc:sldMk cId="2396773110" sldId="2147375747"/>
            <ac:spMk id="35" creationId="{CE6027F2-84BD-4174-B031-4B1DD3685C83}"/>
          </ac:spMkLst>
        </pc:spChg>
        <pc:spChg chg="mod">
          <ac:chgData name="Robertson, Daniel" userId="4fd6f56b-898f-4008-a6b4-11eaf568a331" providerId="ADAL" clId="{658CE56F-80AF-4E66-9150-288E6F61AEDB}" dt="2021-12-08T10:53:37.086" v="653"/>
          <ac:spMkLst>
            <pc:docMk/>
            <pc:sldMk cId="2396773110" sldId="2147375747"/>
            <ac:spMk id="36" creationId="{50166DC1-032E-49C3-AA01-F7CD48834D82}"/>
          </ac:spMkLst>
        </pc:spChg>
        <pc:spChg chg="mod">
          <ac:chgData name="Robertson, Daniel" userId="4fd6f56b-898f-4008-a6b4-11eaf568a331" providerId="ADAL" clId="{658CE56F-80AF-4E66-9150-288E6F61AEDB}" dt="2021-12-08T10:53:37.086" v="653"/>
          <ac:spMkLst>
            <pc:docMk/>
            <pc:sldMk cId="2396773110" sldId="2147375747"/>
            <ac:spMk id="37" creationId="{E70187B3-08FC-4120-B620-40051FFF8473}"/>
          </ac:spMkLst>
        </pc:spChg>
        <pc:spChg chg="mod">
          <ac:chgData name="Robertson, Daniel" userId="4fd6f56b-898f-4008-a6b4-11eaf568a331" providerId="ADAL" clId="{658CE56F-80AF-4E66-9150-288E6F61AEDB}" dt="2021-12-08T10:53:37.086" v="653"/>
          <ac:spMkLst>
            <pc:docMk/>
            <pc:sldMk cId="2396773110" sldId="2147375747"/>
            <ac:spMk id="38" creationId="{CEF0DC02-3965-4074-81F3-7B361871F809}"/>
          </ac:spMkLst>
        </pc:spChg>
        <pc:spChg chg="mod">
          <ac:chgData name="Robertson, Daniel" userId="4fd6f56b-898f-4008-a6b4-11eaf568a331" providerId="ADAL" clId="{658CE56F-80AF-4E66-9150-288E6F61AEDB}" dt="2021-12-08T10:53:37.086" v="653"/>
          <ac:spMkLst>
            <pc:docMk/>
            <pc:sldMk cId="2396773110" sldId="2147375747"/>
            <ac:spMk id="39" creationId="{900CF0DF-3EDC-46D8-8DEA-40FE14FCD733}"/>
          </ac:spMkLst>
        </pc:spChg>
        <pc:spChg chg="mod">
          <ac:chgData name="Robertson, Daniel" userId="4fd6f56b-898f-4008-a6b4-11eaf568a331" providerId="ADAL" clId="{658CE56F-80AF-4E66-9150-288E6F61AEDB}" dt="2021-12-08T10:53:37.086" v="653"/>
          <ac:spMkLst>
            <pc:docMk/>
            <pc:sldMk cId="2396773110" sldId="2147375747"/>
            <ac:spMk id="40" creationId="{B65734AC-A049-434B-BF20-E5B3F5A32504}"/>
          </ac:spMkLst>
        </pc:spChg>
        <pc:spChg chg="mod">
          <ac:chgData name="Robertson, Daniel" userId="4fd6f56b-898f-4008-a6b4-11eaf568a331" providerId="ADAL" clId="{658CE56F-80AF-4E66-9150-288E6F61AEDB}" dt="2021-12-08T10:53:37.086" v="653"/>
          <ac:spMkLst>
            <pc:docMk/>
            <pc:sldMk cId="2396773110" sldId="2147375747"/>
            <ac:spMk id="41" creationId="{96E39334-F52A-470E-B01D-68B5F3177BB2}"/>
          </ac:spMkLst>
        </pc:spChg>
        <pc:spChg chg="mod">
          <ac:chgData name="Robertson, Daniel" userId="4fd6f56b-898f-4008-a6b4-11eaf568a331" providerId="ADAL" clId="{658CE56F-80AF-4E66-9150-288E6F61AEDB}" dt="2021-12-08T10:53:37.086" v="653"/>
          <ac:spMkLst>
            <pc:docMk/>
            <pc:sldMk cId="2396773110" sldId="2147375747"/>
            <ac:spMk id="47" creationId="{C6505EC7-240D-45B4-AB5F-B0F0BAB0599B}"/>
          </ac:spMkLst>
        </pc:spChg>
        <pc:spChg chg="mod">
          <ac:chgData name="Robertson, Daniel" userId="4fd6f56b-898f-4008-a6b4-11eaf568a331" providerId="ADAL" clId="{658CE56F-80AF-4E66-9150-288E6F61AEDB}" dt="2021-12-08T10:53:37.086" v="653"/>
          <ac:spMkLst>
            <pc:docMk/>
            <pc:sldMk cId="2396773110" sldId="2147375747"/>
            <ac:spMk id="50" creationId="{042BA295-A31D-45B7-B34B-1BD9C2834C2B}"/>
          </ac:spMkLst>
        </pc:spChg>
        <pc:spChg chg="mod">
          <ac:chgData name="Robertson, Daniel" userId="4fd6f56b-898f-4008-a6b4-11eaf568a331" providerId="ADAL" clId="{658CE56F-80AF-4E66-9150-288E6F61AEDB}" dt="2021-12-08T10:53:37.086" v="653"/>
          <ac:spMkLst>
            <pc:docMk/>
            <pc:sldMk cId="2396773110" sldId="2147375747"/>
            <ac:spMk id="51" creationId="{5647073C-CF4E-4AC4-8050-630DE8ABE839}"/>
          </ac:spMkLst>
        </pc:spChg>
        <pc:spChg chg="mod">
          <ac:chgData name="Robertson, Daniel" userId="4fd6f56b-898f-4008-a6b4-11eaf568a331" providerId="ADAL" clId="{658CE56F-80AF-4E66-9150-288E6F61AEDB}" dt="2021-12-08T10:53:37.086" v="653"/>
          <ac:spMkLst>
            <pc:docMk/>
            <pc:sldMk cId="2396773110" sldId="2147375747"/>
            <ac:spMk id="52" creationId="{70D49D60-8297-4FFB-B226-E3A63464C384}"/>
          </ac:spMkLst>
        </pc:spChg>
        <pc:spChg chg="mod">
          <ac:chgData name="Robertson, Daniel" userId="4fd6f56b-898f-4008-a6b4-11eaf568a331" providerId="ADAL" clId="{658CE56F-80AF-4E66-9150-288E6F61AEDB}" dt="2021-12-08T10:53:37.086" v="653"/>
          <ac:spMkLst>
            <pc:docMk/>
            <pc:sldMk cId="2396773110" sldId="2147375747"/>
            <ac:spMk id="53" creationId="{DE232468-8566-4F69-9A39-6C8E42040978}"/>
          </ac:spMkLst>
        </pc:spChg>
        <pc:spChg chg="mod">
          <ac:chgData name="Robertson, Daniel" userId="4fd6f56b-898f-4008-a6b4-11eaf568a331" providerId="ADAL" clId="{658CE56F-80AF-4E66-9150-288E6F61AEDB}" dt="2021-12-08T10:53:37.086" v="653"/>
          <ac:spMkLst>
            <pc:docMk/>
            <pc:sldMk cId="2396773110" sldId="2147375747"/>
            <ac:spMk id="54" creationId="{9403F041-C6C9-4731-BD5B-109DC67C0AFF}"/>
          </ac:spMkLst>
        </pc:spChg>
        <pc:spChg chg="mod">
          <ac:chgData name="Robertson, Daniel" userId="4fd6f56b-898f-4008-a6b4-11eaf568a331" providerId="ADAL" clId="{658CE56F-80AF-4E66-9150-288E6F61AEDB}" dt="2021-12-08T10:53:37.086" v="653"/>
          <ac:spMkLst>
            <pc:docMk/>
            <pc:sldMk cId="2396773110" sldId="2147375747"/>
            <ac:spMk id="55" creationId="{9737DC86-CE23-4618-8F31-6373BE502C8E}"/>
          </ac:spMkLst>
        </pc:spChg>
        <pc:spChg chg="mod">
          <ac:chgData name="Robertson, Daniel" userId="4fd6f56b-898f-4008-a6b4-11eaf568a331" providerId="ADAL" clId="{658CE56F-80AF-4E66-9150-288E6F61AEDB}" dt="2021-12-08T10:53:37.086" v="653"/>
          <ac:spMkLst>
            <pc:docMk/>
            <pc:sldMk cId="2396773110" sldId="2147375747"/>
            <ac:spMk id="56" creationId="{2B0DE0BE-F792-4936-A96E-C5334193DABA}"/>
          </ac:spMkLst>
        </pc:spChg>
        <pc:spChg chg="mod">
          <ac:chgData name="Robertson, Daniel" userId="4fd6f56b-898f-4008-a6b4-11eaf568a331" providerId="ADAL" clId="{658CE56F-80AF-4E66-9150-288E6F61AEDB}" dt="2021-12-08T10:53:37.086" v="653"/>
          <ac:spMkLst>
            <pc:docMk/>
            <pc:sldMk cId="2396773110" sldId="2147375747"/>
            <ac:spMk id="57" creationId="{F82D8383-2BA1-4C41-90AE-DDEF39C9A659}"/>
          </ac:spMkLst>
        </pc:spChg>
        <pc:spChg chg="mod">
          <ac:chgData name="Robertson, Daniel" userId="4fd6f56b-898f-4008-a6b4-11eaf568a331" providerId="ADAL" clId="{658CE56F-80AF-4E66-9150-288E6F61AEDB}" dt="2021-12-08T10:53:37.086" v="653"/>
          <ac:spMkLst>
            <pc:docMk/>
            <pc:sldMk cId="2396773110" sldId="2147375747"/>
            <ac:spMk id="58" creationId="{118F5080-7C5D-43B0-974A-E76C99E61A16}"/>
          </ac:spMkLst>
        </pc:spChg>
        <pc:spChg chg="mod">
          <ac:chgData name="Robertson, Daniel" userId="4fd6f56b-898f-4008-a6b4-11eaf568a331" providerId="ADAL" clId="{658CE56F-80AF-4E66-9150-288E6F61AEDB}" dt="2021-12-08T10:53:37.086" v="653"/>
          <ac:spMkLst>
            <pc:docMk/>
            <pc:sldMk cId="2396773110" sldId="2147375747"/>
            <ac:spMk id="59" creationId="{2700DB07-6BE7-4280-B28E-5A54D10FACA7}"/>
          </ac:spMkLst>
        </pc:spChg>
        <pc:spChg chg="mod">
          <ac:chgData name="Robertson, Daniel" userId="4fd6f56b-898f-4008-a6b4-11eaf568a331" providerId="ADAL" clId="{658CE56F-80AF-4E66-9150-288E6F61AEDB}" dt="2021-12-08T10:53:37.086" v="653"/>
          <ac:spMkLst>
            <pc:docMk/>
            <pc:sldMk cId="2396773110" sldId="2147375747"/>
            <ac:spMk id="60" creationId="{A57101C3-E23E-44E8-8154-5FF228EB23F5}"/>
          </ac:spMkLst>
        </pc:spChg>
        <pc:spChg chg="mod">
          <ac:chgData name="Robertson, Daniel" userId="4fd6f56b-898f-4008-a6b4-11eaf568a331" providerId="ADAL" clId="{658CE56F-80AF-4E66-9150-288E6F61AEDB}" dt="2021-12-08T10:53:37.086" v="653"/>
          <ac:spMkLst>
            <pc:docMk/>
            <pc:sldMk cId="2396773110" sldId="2147375747"/>
            <ac:spMk id="61" creationId="{14EEE522-FA6A-4B42-8BD8-1DA7D101C1E4}"/>
          </ac:spMkLst>
        </pc:spChg>
        <pc:spChg chg="mod">
          <ac:chgData name="Robertson, Daniel" userId="4fd6f56b-898f-4008-a6b4-11eaf568a331" providerId="ADAL" clId="{658CE56F-80AF-4E66-9150-288E6F61AEDB}" dt="2021-12-08T10:53:37.086" v="653"/>
          <ac:spMkLst>
            <pc:docMk/>
            <pc:sldMk cId="2396773110" sldId="2147375747"/>
            <ac:spMk id="62" creationId="{076E4355-998B-4E58-8713-0F79B69B5A7E}"/>
          </ac:spMkLst>
        </pc:spChg>
        <pc:spChg chg="mod">
          <ac:chgData name="Robertson, Daniel" userId="4fd6f56b-898f-4008-a6b4-11eaf568a331" providerId="ADAL" clId="{658CE56F-80AF-4E66-9150-288E6F61AEDB}" dt="2021-12-08T10:53:37.086" v="653"/>
          <ac:spMkLst>
            <pc:docMk/>
            <pc:sldMk cId="2396773110" sldId="2147375747"/>
            <ac:spMk id="63" creationId="{F6709E60-8062-475C-A871-12DF54C327B2}"/>
          </ac:spMkLst>
        </pc:spChg>
        <pc:spChg chg="mod">
          <ac:chgData name="Robertson, Daniel" userId="4fd6f56b-898f-4008-a6b4-11eaf568a331" providerId="ADAL" clId="{658CE56F-80AF-4E66-9150-288E6F61AEDB}" dt="2021-12-08T10:53:37.086" v="653"/>
          <ac:spMkLst>
            <pc:docMk/>
            <pc:sldMk cId="2396773110" sldId="2147375747"/>
            <ac:spMk id="64" creationId="{C883398F-09BA-412E-836E-8698C0529081}"/>
          </ac:spMkLst>
        </pc:spChg>
        <pc:spChg chg="mod">
          <ac:chgData name="Robertson, Daniel" userId="4fd6f56b-898f-4008-a6b4-11eaf568a331" providerId="ADAL" clId="{658CE56F-80AF-4E66-9150-288E6F61AEDB}" dt="2021-12-08T10:53:37.086" v="653"/>
          <ac:spMkLst>
            <pc:docMk/>
            <pc:sldMk cId="2396773110" sldId="2147375747"/>
            <ac:spMk id="65" creationId="{5FB2C9AD-7258-4331-88F4-3FE13ADF7B05}"/>
          </ac:spMkLst>
        </pc:spChg>
        <pc:spChg chg="mod">
          <ac:chgData name="Robertson, Daniel" userId="4fd6f56b-898f-4008-a6b4-11eaf568a331" providerId="ADAL" clId="{658CE56F-80AF-4E66-9150-288E6F61AEDB}" dt="2021-12-08T10:53:37.086" v="653"/>
          <ac:spMkLst>
            <pc:docMk/>
            <pc:sldMk cId="2396773110" sldId="2147375747"/>
            <ac:spMk id="67" creationId="{BDFF46DD-4CB4-47F6-AD44-8B282B6356D8}"/>
          </ac:spMkLst>
        </pc:spChg>
        <pc:spChg chg="mod">
          <ac:chgData name="Robertson, Daniel" userId="4fd6f56b-898f-4008-a6b4-11eaf568a331" providerId="ADAL" clId="{658CE56F-80AF-4E66-9150-288E6F61AEDB}" dt="2021-12-08T10:53:37.086" v="653"/>
          <ac:spMkLst>
            <pc:docMk/>
            <pc:sldMk cId="2396773110" sldId="2147375747"/>
            <ac:spMk id="68" creationId="{208A87DA-FF55-4970-87B8-F43AB758FCA3}"/>
          </ac:spMkLst>
        </pc:spChg>
        <pc:spChg chg="mod">
          <ac:chgData name="Robertson, Daniel" userId="4fd6f56b-898f-4008-a6b4-11eaf568a331" providerId="ADAL" clId="{658CE56F-80AF-4E66-9150-288E6F61AEDB}" dt="2021-12-08T10:53:37.086" v="653"/>
          <ac:spMkLst>
            <pc:docMk/>
            <pc:sldMk cId="2396773110" sldId="2147375747"/>
            <ac:spMk id="70" creationId="{C5CABD0B-532B-4CEF-B572-544643339FE2}"/>
          </ac:spMkLst>
        </pc:spChg>
        <pc:spChg chg="mod">
          <ac:chgData name="Robertson, Daniel" userId="4fd6f56b-898f-4008-a6b4-11eaf568a331" providerId="ADAL" clId="{658CE56F-80AF-4E66-9150-288E6F61AEDB}" dt="2021-12-08T10:53:37.086" v="653"/>
          <ac:spMkLst>
            <pc:docMk/>
            <pc:sldMk cId="2396773110" sldId="2147375747"/>
            <ac:spMk id="71" creationId="{E2352880-6A90-4BDA-8E94-78F3C365143E}"/>
          </ac:spMkLst>
        </pc:spChg>
        <pc:spChg chg="mod">
          <ac:chgData name="Robertson, Daniel" userId="4fd6f56b-898f-4008-a6b4-11eaf568a331" providerId="ADAL" clId="{658CE56F-80AF-4E66-9150-288E6F61AEDB}" dt="2021-12-08T10:53:37.086" v="653"/>
          <ac:spMkLst>
            <pc:docMk/>
            <pc:sldMk cId="2396773110" sldId="2147375747"/>
            <ac:spMk id="81" creationId="{9FE03F60-3DD3-46B8-A16E-BDB53C4E3F3D}"/>
          </ac:spMkLst>
        </pc:spChg>
        <pc:spChg chg="mod">
          <ac:chgData name="Robertson, Daniel" userId="4fd6f56b-898f-4008-a6b4-11eaf568a331" providerId="ADAL" clId="{658CE56F-80AF-4E66-9150-288E6F61AEDB}" dt="2021-12-08T10:53:37.086" v="653"/>
          <ac:spMkLst>
            <pc:docMk/>
            <pc:sldMk cId="2396773110" sldId="2147375747"/>
            <ac:spMk id="84" creationId="{E832AE87-DFBE-4F7E-91A3-D48FEFC3584E}"/>
          </ac:spMkLst>
        </pc:spChg>
        <pc:spChg chg="mod">
          <ac:chgData name="Robertson, Daniel" userId="4fd6f56b-898f-4008-a6b4-11eaf568a331" providerId="ADAL" clId="{658CE56F-80AF-4E66-9150-288E6F61AEDB}" dt="2021-12-08T10:53:37.086" v="653"/>
          <ac:spMkLst>
            <pc:docMk/>
            <pc:sldMk cId="2396773110" sldId="2147375747"/>
            <ac:spMk id="85" creationId="{79EA167C-C752-4D5C-BB94-71EC534CC8AB}"/>
          </ac:spMkLst>
        </pc:spChg>
        <pc:spChg chg="mod">
          <ac:chgData name="Robertson, Daniel" userId="4fd6f56b-898f-4008-a6b4-11eaf568a331" providerId="ADAL" clId="{658CE56F-80AF-4E66-9150-288E6F61AEDB}" dt="2021-12-08T10:53:37.086" v="653"/>
          <ac:spMkLst>
            <pc:docMk/>
            <pc:sldMk cId="2396773110" sldId="2147375747"/>
            <ac:spMk id="86" creationId="{4A5A0283-4E09-40B2-B5ED-899F7F2E5868}"/>
          </ac:spMkLst>
        </pc:spChg>
        <pc:spChg chg="mod">
          <ac:chgData name="Robertson, Daniel" userId="4fd6f56b-898f-4008-a6b4-11eaf568a331" providerId="ADAL" clId="{658CE56F-80AF-4E66-9150-288E6F61AEDB}" dt="2021-12-08T10:53:37.086" v="653"/>
          <ac:spMkLst>
            <pc:docMk/>
            <pc:sldMk cId="2396773110" sldId="2147375747"/>
            <ac:spMk id="87" creationId="{270517EB-912B-4CF6-8373-D9AF0C583083}"/>
          </ac:spMkLst>
        </pc:spChg>
        <pc:spChg chg="mod">
          <ac:chgData name="Robertson, Daniel" userId="4fd6f56b-898f-4008-a6b4-11eaf568a331" providerId="ADAL" clId="{658CE56F-80AF-4E66-9150-288E6F61AEDB}" dt="2021-12-08T10:53:37.086" v="653"/>
          <ac:spMkLst>
            <pc:docMk/>
            <pc:sldMk cId="2396773110" sldId="2147375747"/>
            <ac:spMk id="88" creationId="{19D0800C-02AE-4F37-84F7-E4F34D161B91}"/>
          </ac:spMkLst>
        </pc:spChg>
        <pc:spChg chg="mod">
          <ac:chgData name="Robertson, Daniel" userId="4fd6f56b-898f-4008-a6b4-11eaf568a331" providerId="ADAL" clId="{658CE56F-80AF-4E66-9150-288E6F61AEDB}" dt="2021-12-08T10:53:37.086" v="653"/>
          <ac:spMkLst>
            <pc:docMk/>
            <pc:sldMk cId="2396773110" sldId="2147375747"/>
            <ac:spMk id="89" creationId="{F4331AD9-EF5B-43A4-A5BB-C3AE04759E10}"/>
          </ac:spMkLst>
        </pc:spChg>
        <pc:spChg chg="mod">
          <ac:chgData name="Robertson, Daniel" userId="4fd6f56b-898f-4008-a6b4-11eaf568a331" providerId="ADAL" clId="{658CE56F-80AF-4E66-9150-288E6F61AEDB}" dt="2021-12-08T10:53:51.343" v="658" actId="14100"/>
          <ac:spMkLst>
            <pc:docMk/>
            <pc:sldMk cId="2396773110" sldId="2147375747"/>
            <ac:spMk id="91" creationId="{46F7EF2F-F6BB-4174-B140-F7497944A566}"/>
          </ac:spMkLst>
        </pc:spChg>
        <pc:spChg chg="mod">
          <ac:chgData name="Robertson, Daniel" userId="4fd6f56b-898f-4008-a6b4-11eaf568a331" providerId="ADAL" clId="{658CE56F-80AF-4E66-9150-288E6F61AEDB}" dt="2021-12-08T10:53:51.343" v="658" actId="14100"/>
          <ac:spMkLst>
            <pc:docMk/>
            <pc:sldMk cId="2396773110" sldId="2147375747"/>
            <ac:spMk id="92" creationId="{D246F92B-EA73-4E01-928E-C1F8D14B8C85}"/>
          </ac:spMkLst>
        </pc:spChg>
        <pc:spChg chg="mod">
          <ac:chgData name="Robertson, Daniel" userId="4fd6f56b-898f-4008-a6b4-11eaf568a331" providerId="ADAL" clId="{658CE56F-80AF-4E66-9150-288E6F61AEDB}" dt="2021-12-08T10:53:51.343" v="658" actId="14100"/>
          <ac:spMkLst>
            <pc:docMk/>
            <pc:sldMk cId="2396773110" sldId="2147375747"/>
            <ac:spMk id="94" creationId="{4081C05D-A931-4011-87A5-DA5CA9FA0DC2}"/>
          </ac:spMkLst>
        </pc:spChg>
        <pc:spChg chg="mod">
          <ac:chgData name="Robertson, Daniel" userId="4fd6f56b-898f-4008-a6b4-11eaf568a331" providerId="ADAL" clId="{658CE56F-80AF-4E66-9150-288E6F61AEDB}" dt="2021-12-08T10:53:51.343" v="658" actId="14100"/>
          <ac:spMkLst>
            <pc:docMk/>
            <pc:sldMk cId="2396773110" sldId="2147375747"/>
            <ac:spMk id="95" creationId="{944A8A86-AF75-4A77-822D-0B2E11D7BBAA}"/>
          </ac:spMkLst>
        </pc:spChg>
        <pc:spChg chg="mod">
          <ac:chgData name="Robertson, Daniel" userId="4fd6f56b-898f-4008-a6b4-11eaf568a331" providerId="ADAL" clId="{658CE56F-80AF-4E66-9150-288E6F61AEDB}" dt="2021-12-08T10:53:51.343" v="658" actId="14100"/>
          <ac:spMkLst>
            <pc:docMk/>
            <pc:sldMk cId="2396773110" sldId="2147375747"/>
            <ac:spMk id="96" creationId="{5ABA1D14-6A9E-4D83-A082-A323D745E35B}"/>
          </ac:spMkLst>
        </pc:spChg>
        <pc:spChg chg="mod">
          <ac:chgData name="Robertson, Daniel" userId="4fd6f56b-898f-4008-a6b4-11eaf568a331" providerId="ADAL" clId="{658CE56F-80AF-4E66-9150-288E6F61AEDB}" dt="2021-12-08T10:53:51.343" v="658" actId="14100"/>
          <ac:spMkLst>
            <pc:docMk/>
            <pc:sldMk cId="2396773110" sldId="2147375747"/>
            <ac:spMk id="97" creationId="{6CD4C1E0-5D4D-41AA-8F15-F63136389973}"/>
          </ac:spMkLst>
        </pc:spChg>
        <pc:spChg chg="mod">
          <ac:chgData name="Robertson, Daniel" userId="4fd6f56b-898f-4008-a6b4-11eaf568a331" providerId="ADAL" clId="{658CE56F-80AF-4E66-9150-288E6F61AEDB}" dt="2021-12-08T10:53:51.343" v="658" actId="14100"/>
          <ac:spMkLst>
            <pc:docMk/>
            <pc:sldMk cId="2396773110" sldId="2147375747"/>
            <ac:spMk id="98" creationId="{6CE7F2B8-95A3-4A9A-85A8-0A8CD4FF8B6A}"/>
          </ac:spMkLst>
        </pc:spChg>
        <pc:spChg chg="mod">
          <ac:chgData name="Robertson, Daniel" userId="4fd6f56b-898f-4008-a6b4-11eaf568a331" providerId="ADAL" clId="{658CE56F-80AF-4E66-9150-288E6F61AEDB}" dt="2021-12-08T10:53:51.343" v="658" actId="14100"/>
          <ac:spMkLst>
            <pc:docMk/>
            <pc:sldMk cId="2396773110" sldId="2147375747"/>
            <ac:spMk id="99" creationId="{E911301D-F01F-41C0-AF08-959F357A88BF}"/>
          </ac:spMkLst>
        </pc:spChg>
        <pc:spChg chg="mod">
          <ac:chgData name="Robertson, Daniel" userId="4fd6f56b-898f-4008-a6b4-11eaf568a331" providerId="ADAL" clId="{658CE56F-80AF-4E66-9150-288E6F61AEDB}" dt="2021-12-08T10:53:51.343" v="658" actId="14100"/>
          <ac:spMkLst>
            <pc:docMk/>
            <pc:sldMk cId="2396773110" sldId="2147375747"/>
            <ac:spMk id="100" creationId="{BA23506B-B6EB-467F-BEE7-B35935018619}"/>
          </ac:spMkLst>
        </pc:spChg>
        <pc:spChg chg="mod">
          <ac:chgData name="Robertson, Daniel" userId="4fd6f56b-898f-4008-a6b4-11eaf568a331" providerId="ADAL" clId="{658CE56F-80AF-4E66-9150-288E6F61AEDB}" dt="2021-12-08T10:53:51.343" v="658" actId="14100"/>
          <ac:spMkLst>
            <pc:docMk/>
            <pc:sldMk cId="2396773110" sldId="2147375747"/>
            <ac:spMk id="101" creationId="{CC21D44E-89D9-4278-9896-31528A03E404}"/>
          </ac:spMkLst>
        </pc:spChg>
        <pc:spChg chg="mod">
          <ac:chgData name="Robertson, Daniel" userId="4fd6f56b-898f-4008-a6b4-11eaf568a331" providerId="ADAL" clId="{658CE56F-80AF-4E66-9150-288E6F61AEDB}" dt="2021-12-08T10:53:51.343" v="658" actId="14100"/>
          <ac:spMkLst>
            <pc:docMk/>
            <pc:sldMk cId="2396773110" sldId="2147375747"/>
            <ac:spMk id="102" creationId="{134D1E1B-8857-4375-872D-6DF1D62C6032}"/>
          </ac:spMkLst>
        </pc:spChg>
        <pc:spChg chg="mod">
          <ac:chgData name="Robertson, Daniel" userId="4fd6f56b-898f-4008-a6b4-11eaf568a331" providerId="ADAL" clId="{658CE56F-80AF-4E66-9150-288E6F61AEDB}" dt="2021-12-08T10:53:51.343" v="658" actId="14100"/>
          <ac:spMkLst>
            <pc:docMk/>
            <pc:sldMk cId="2396773110" sldId="2147375747"/>
            <ac:spMk id="103" creationId="{0DAFDED4-8BC3-49FE-B827-90F2ED8EB256}"/>
          </ac:spMkLst>
        </pc:spChg>
        <pc:spChg chg="mod">
          <ac:chgData name="Robertson, Daniel" userId="4fd6f56b-898f-4008-a6b4-11eaf568a331" providerId="ADAL" clId="{658CE56F-80AF-4E66-9150-288E6F61AEDB}" dt="2021-12-08T10:53:51.343" v="658" actId="14100"/>
          <ac:spMkLst>
            <pc:docMk/>
            <pc:sldMk cId="2396773110" sldId="2147375747"/>
            <ac:spMk id="109" creationId="{C32349EB-341D-4A45-8FC8-5BCC2CCFC982}"/>
          </ac:spMkLst>
        </pc:spChg>
        <pc:spChg chg="mod">
          <ac:chgData name="Robertson, Daniel" userId="4fd6f56b-898f-4008-a6b4-11eaf568a331" providerId="ADAL" clId="{658CE56F-80AF-4E66-9150-288E6F61AEDB}" dt="2021-12-08T10:53:51.343" v="658" actId="14100"/>
          <ac:spMkLst>
            <pc:docMk/>
            <pc:sldMk cId="2396773110" sldId="2147375747"/>
            <ac:spMk id="112" creationId="{D2922AF2-48B9-4BC9-9A09-4F70ED208A68}"/>
          </ac:spMkLst>
        </pc:spChg>
        <pc:spChg chg="mod">
          <ac:chgData name="Robertson, Daniel" userId="4fd6f56b-898f-4008-a6b4-11eaf568a331" providerId="ADAL" clId="{658CE56F-80AF-4E66-9150-288E6F61AEDB}" dt="2021-12-08T10:53:51.343" v="658" actId="14100"/>
          <ac:spMkLst>
            <pc:docMk/>
            <pc:sldMk cId="2396773110" sldId="2147375747"/>
            <ac:spMk id="113" creationId="{D48DC99B-058F-4C45-80F9-C1FC6242CC4B}"/>
          </ac:spMkLst>
        </pc:spChg>
        <pc:spChg chg="mod">
          <ac:chgData name="Robertson, Daniel" userId="4fd6f56b-898f-4008-a6b4-11eaf568a331" providerId="ADAL" clId="{658CE56F-80AF-4E66-9150-288E6F61AEDB}" dt="2021-12-08T10:53:51.343" v="658" actId="14100"/>
          <ac:spMkLst>
            <pc:docMk/>
            <pc:sldMk cId="2396773110" sldId="2147375747"/>
            <ac:spMk id="114" creationId="{030596BB-8686-4B3F-863A-3BAD9ADC0F99}"/>
          </ac:spMkLst>
        </pc:spChg>
        <pc:spChg chg="mod">
          <ac:chgData name="Robertson, Daniel" userId="4fd6f56b-898f-4008-a6b4-11eaf568a331" providerId="ADAL" clId="{658CE56F-80AF-4E66-9150-288E6F61AEDB}" dt="2021-12-08T10:53:51.343" v="658" actId="14100"/>
          <ac:spMkLst>
            <pc:docMk/>
            <pc:sldMk cId="2396773110" sldId="2147375747"/>
            <ac:spMk id="115" creationId="{E95D4FAB-82EE-4D8E-9E6E-BE8B1ED06C42}"/>
          </ac:spMkLst>
        </pc:spChg>
        <pc:spChg chg="mod">
          <ac:chgData name="Robertson, Daniel" userId="4fd6f56b-898f-4008-a6b4-11eaf568a331" providerId="ADAL" clId="{658CE56F-80AF-4E66-9150-288E6F61AEDB}" dt="2021-12-08T10:53:51.343" v="658" actId="14100"/>
          <ac:spMkLst>
            <pc:docMk/>
            <pc:sldMk cId="2396773110" sldId="2147375747"/>
            <ac:spMk id="116" creationId="{BDF56790-07A1-4D2A-BE09-852A8E828759}"/>
          </ac:spMkLst>
        </pc:spChg>
        <pc:spChg chg="mod">
          <ac:chgData name="Robertson, Daniel" userId="4fd6f56b-898f-4008-a6b4-11eaf568a331" providerId="ADAL" clId="{658CE56F-80AF-4E66-9150-288E6F61AEDB}" dt="2021-12-08T10:53:51.343" v="658" actId="14100"/>
          <ac:spMkLst>
            <pc:docMk/>
            <pc:sldMk cId="2396773110" sldId="2147375747"/>
            <ac:spMk id="117" creationId="{1E34ADA5-4B2C-42A1-AC4A-1F1A6F2F0A24}"/>
          </ac:spMkLst>
        </pc:spChg>
        <pc:spChg chg="mod">
          <ac:chgData name="Robertson, Daniel" userId="4fd6f56b-898f-4008-a6b4-11eaf568a331" providerId="ADAL" clId="{658CE56F-80AF-4E66-9150-288E6F61AEDB}" dt="2021-12-08T10:53:51.343" v="658" actId="14100"/>
          <ac:spMkLst>
            <pc:docMk/>
            <pc:sldMk cId="2396773110" sldId="2147375747"/>
            <ac:spMk id="118" creationId="{979DB45F-6CD6-4AF4-B3D4-797893F3D56B}"/>
          </ac:spMkLst>
        </pc:spChg>
        <pc:spChg chg="mod">
          <ac:chgData name="Robertson, Daniel" userId="4fd6f56b-898f-4008-a6b4-11eaf568a331" providerId="ADAL" clId="{658CE56F-80AF-4E66-9150-288E6F61AEDB}" dt="2021-12-08T10:53:51.343" v="658" actId="14100"/>
          <ac:spMkLst>
            <pc:docMk/>
            <pc:sldMk cId="2396773110" sldId="2147375747"/>
            <ac:spMk id="119" creationId="{532B8AAD-9A24-4E74-8D1B-FD1519CDE6FB}"/>
          </ac:spMkLst>
        </pc:spChg>
        <pc:spChg chg="mod">
          <ac:chgData name="Robertson, Daniel" userId="4fd6f56b-898f-4008-a6b4-11eaf568a331" providerId="ADAL" clId="{658CE56F-80AF-4E66-9150-288E6F61AEDB}" dt="2021-12-08T10:53:51.343" v="658" actId="14100"/>
          <ac:spMkLst>
            <pc:docMk/>
            <pc:sldMk cId="2396773110" sldId="2147375747"/>
            <ac:spMk id="120" creationId="{D493F6C7-C364-40D0-BCF1-016403DC30BA}"/>
          </ac:spMkLst>
        </pc:spChg>
        <pc:spChg chg="mod">
          <ac:chgData name="Robertson, Daniel" userId="4fd6f56b-898f-4008-a6b4-11eaf568a331" providerId="ADAL" clId="{658CE56F-80AF-4E66-9150-288E6F61AEDB}" dt="2021-12-08T10:53:51.343" v="658" actId="14100"/>
          <ac:spMkLst>
            <pc:docMk/>
            <pc:sldMk cId="2396773110" sldId="2147375747"/>
            <ac:spMk id="121" creationId="{C17D2AEB-3A3D-45E7-9854-2A02C96D2001}"/>
          </ac:spMkLst>
        </pc:spChg>
        <pc:spChg chg="mod">
          <ac:chgData name="Robertson, Daniel" userId="4fd6f56b-898f-4008-a6b4-11eaf568a331" providerId="ADAL" clId="{658CE56F-80AF-4E66-9150-288E6F61AEDB}" dt="2021-12-08T10:53:51.343" v="658" actId="14100"/>
          <ac:spMkLst>
            <pc:docMk/>
            <pc:sldMk cId="2396773110" sldId="2147375747"/>
            <ac:spMk id="122" creationId="{5915E618-E2CA-4618-95CF-CAC5EA2FF302}"/>
          </ac:spMkLst>
        </pc:spChg>
        <pc:spChg chg="mod">
          <ac:chgData name="Robertson, Daniel" userId="4fd6f56b-898f-4008-a6b4-11eaf568a331" providerId="ADAL" clId="{658CE56F-80AF-4E66-9150-288E6F61AEDB}" dt="2021-12-08T10:53:51.343" v="658" actId="14100"/>
          <ac:spMkLst>
            <pc:docMk/>
            <pc:sldMk cId="2396773110" sldId="2147375747"/>
            <ac:spMk id="123" creationId="{DA0793F8-CAA6-4EAA-A307-386E91851EE1}"/>
          </ac:spMkLst>
        </pc:spChg>
        <pc:spChg chg="mod">
          <ac:chgData name="Robertson, Daniel" userId="4fd6f56b-898f-4008-a6b4-11eaf568a331" providerId="ADAL" clId="{658CE56F-80AF-4E66-9150-288E6F61AEDB}" dt="2021-12-08T10:53:51.343" v="658" actId="14100"/>
          <ac:spMkLst>
            <pc:docMk/>
            <pc:sldMk cId="2396773110" sldId="2147375747"/>
            <ac:spMk id="124" creationId="{66881014-3BEF-43D5-92A5-FF0A80C63E25}"/>
          </ac:spMkLst>
        </pc:spChg>
        <pc:spChg chg="mod">
          <ac:chgData name="Robertson, Daniel" userId="4fd6f56b-898f-4008-a6b4-11eaf568a331" providerId="ADAL" clId="{658CE56F-80AF-4E66-9150-288E6F61AEDB}" dt="2021-12-08T10:53:51.343" v="658" actId="14100"/>
          <ac:spMkLst>
            <pc:docMk/>
            <pc:sldMk cId="2396773110" sldId="2147375747"/>
            <ac:spMk id="125" creationId="{1DA38FBD-D1AE-4E84-8B27-3B1DA2FE416A}"/>
          </ac:spMkLst>
        </pc:spChg>
        <pc:spChg chg="mod">
          <ac:chgData name="Robertson, Daniel" userId="4fd6f56b-898f-4008-a6b4-11eaf568a331" providerId="ADAL" clId="{658CE56F-80AF-4E66-9150-288E6F61AEDB}" dt="2021-12-08T10:53:51.343" v="658" actId="14100"/>
          <ac:spMkLst>
            <pc:docMk/>
            <pc:sldMk cId="2396773110" sldId="2147375747"/>
            <ac:spMk id="126" creationId="{3F9DFC40-6B01-45D4-A2C6-D06FE39464DA}"/>
          </ac:spMkLst>
        </pc:spChg>
        <pc:spChg chg="mod">
          <ac:chgData name="Robertson, Daniel" userId="4fd6f56b-898f-4008-a6b4-11eaf568a331" providerId="ADAL" clId="{658CE56F-80AF-4E66-9150-288E6F61AEDB}" dt="2021-12-08T10:53:51.343" v="658" actId="14100"/>
          <ac:spMkLst>
            <pc:docMk/>
            <pc:sldMk cId="2396773110" sldId="2147375747"/>
            <ac:spMk id="127" creationId="{C47F44D7-6B52-466E-A7BB-862D9CFEF7FA}"/>
          </ac:spMkLst>
        </pc:spChg>
        <pc:spChg chg="mod">
          <ac:chgData name="Robertson, Daniel" userId="4fd6f56b-898f-4008-a6b4-11eaf568a331" providerId="ADAL" clId="{658CE56F-80AF-4E66-9150-288E6F61AEDB}" dt="2021-12-08T10:53:51.343" v="658" actId="14100"/>
          <ac:spMkLst>
            <pc:docMk/>
            <pc:sldMk cId="2396773110" sldId="2147375747"/>
            <ac:spMk id="129" creationId="{74099DEA-8748-4449-9887-C3957221C8CB}"/>
          </ac:spMkLst>
        </pc:spChg>
        <pc:spChg chg="mod">
          <ac:chgData name="Robertson, Daniel" userId="4fd6f56b-898f-4008-a6b4-11eaf568a331" providerId="ADAL" clId="{658CE56F-80AF-4E66-9150-288E6F61AEDB}" dt="2021-12-08T10:53:51.343" v="658" actId="14100"/>
          <ac:spMkLst>
            <pc:docMk/>
            <pc:sldMk cId="2396773110" sldId="2147375747"/>
            <ac:spMk id="130" creationId="{1A2827E3-0C8C-4EBA-ACF5-3B906592D2B9}"/>
          </ac:spMkLst>
        </pc:spChg>
        <pc:spChg chg="mod">
          <ac:chgData name="Robertson, Daniel" userId="4fd6f56b-898f-4008-a6b4-11eaf568a331" providerId="ADAL" clId="{658CE56F-80AF-4E66-9150-288E6F61AEDB}" dt="2021-12-08T10:53:51.343" v="658" actId="14100"/>
          <ac:spMkLst>
            <pc:docMk/>
            <pc:sldMk cId="2396773110" sldId="2147375747"/>
            <ac:spMk id="132" creationId="{B84BC4A4-929B-4F58-82B0-25EAA0B97F88}"/>
          </ac:spMkLst>
        </pc:spChg>
        <pc:spChg chg="mod">
          <ac:chgData name="Robertson, Daniel" userId="4fd6f56b-898f-4008-a6b4-11eaf568a331" providerId="ADAL" clId="{658CE56F-80AF-4E66-9150-288E6F61AEDB}" dt="2021-12-08T10:53:51.343" v="658" actId="14100"/>
          <ac:spMkLst>
            <pc:docMk/>
            <pc:sldMk cId="2396773110" sldId="2147375747"/>
            <ac:spMk id="133" creationId="{5EBC1E49-E973-4257-AF50-3C4CE129D522}"/>
          </ac:spMkLst>
        </pc:spChg>
        <pc:spChg chg="mod">
          <ac:chgData name="Robertson, Daniel" userId="4fd6f56b-898f-4008-a6b4-11eaf568a331" providerId="ADAL" clId="{658CE56F-80AF-4E66-9150-288E6F61AEDB}" dt="2021-12-08T10:53:51.343" v="658" actId="14100"/>
          <ac:spMkLst>
            <pc:docMk/>
            <pc:sldMk cId="2396773110" sldId="2147375747"/>
            <ac:spMk id="143" creationId="{78B0A744-F8DA-4ABF-B377-87BCECB3882F}"/>
          </ac:spMkLst>
        </pc:spChg>
        <pc:spChg chg="mod">
          <ac:chgData name="Robertson, Daniel" userId="4fd6f56b-898f-4008-a6b4-11eaf568a331" providerId="ADAL" clId="{658CE56F-80AF-4E66-9150-288E6F61AEDB}" dt="2021-12-08T10:53:51.343" v="658" actId="14100"/>
          <ac:spMkLst>
            <pc:docMk/>
            <pc:sldMk cId="2396773110" sldId="2147375747"/>
            <ac:spMk id="146" creationId="{6F2D3D43-B5EB-4DFC-BE54-427FE457FD1E}"/>
          </ac:spMkLst>
        </pc:spChg>
        <pc:spChg chg="mod">
          <ac:chgData name="Robertson, Daniel" userId="4fd6f56b-898f-4008-a6b4-11eaf568a331" providerId="ADAL" clId="{658CE56F-80AF-4E66-9150-288E6F61AEDB}" dt="2021-12-08T10:53:51.343" v="658" actId="14100"/>
          <ac:spMkLst>
            <pc:docMk/>
            <pc:sldMk cId="2396773110" sldId="2147375747"/>
            <ac:spMk id="147" creationId="{1A299EF9-9050-4427-8DBC-C1E4AE6EDDF7}"/>
          </ac:spMkLst>
        </pc:spChg>
        <pc:spChg chg="mod">
          <ac:chgData name="Robertson, Daniel" userId="4fd6f56b-898f-4008-a6b4-11eaf568a331" providerId="ADAL" clId="{658CE56F-80AF-4E66-9150-288E6F61AEDB}" dt="2021-12-08T10:53:51.343" v="658" actId="14100"/>
          <ac:spMkLst>
            <pc:docMk/>
            <pc:sldMk cId="2396773110" sldId="2147375747"/>
            <ac:spMk id="148" creationId="{7E494F39-D943-4ACB-94E1-3BEDAC2B3279}"/>
          </ac:spMkLst>
        </pc:spChg>
        <pc:spChg chg="mod">
          <ac:chgData name="Robertson, Daniel" userId="4fd6f56b-898f-4008-a6b4-11eaf568a331" providerId="ADAL" clId="{658CE56F-80AF-4E66-9150-288E6F61AEDB}" dt="2021-12-08T10:53:51.343" v="658" actId="14100"/>
          <ac:spMkLst>
            <pc:docMk/>
            <pc:sldMk cId="2396773110" sldId="2147375747"/>
            <ac:spMk id="149" creationId="{AAF8609E-DECC-4650-98A1-08395F44E097}"/>
          </ac:spMkLst>
        </pc:spChg>
        <pc:spChg chg="mod">
          <ac:chgData name="Robertson, Daniel" userId="4fd6f56b-898f-4008-a6b4-11eaf568a331" providerId="ADAL" clId="{658CE56F-80AF-4E66-9150-288E6F61AEDB}" dt="2021-12-08T10:53:51.343" v="658" actId="14100"/>
          <ac:spMkLst>
            <pc:docMk/>
            <pc:sldMk cId="2396773110" sldId="2147375747"/>
            <ac:spMk id="150" creationId="{21553112-C5D8-4F60-B990-49F3AF85FEC5}"/>
          </ac:spMkLst>
        </pc:spChg>
        <pc:spChg chg="mod">
          <ac:chgData name="Robertson, Daniel" userId="4fd6f56b-898f-4008-a6b4-11eaf568a331" providerId="ADAL" clId="{658CE56F-80AF-4E66-9150-288E6F61AEDB}" dt="2021-12-08T10:53:51.343" v="658" actId="14100"/>
          <ac:spMkLst>
            <pc:docMk/>
            <pc:sldMk cId="2396773110" sldId="2147375747"/>
            <ac:spMk id="151" creationId="{EE0ADD7E-C651-4AAA-9A77-D702B91C2A1E}"/>
          </ac:spMkLst>
        </pc:spChg>
        <pc:grpChg chg="add del mod">
          <ac:chgData name="Robertson, Daniel" userId="4fd6f56b-898f-4008-a6b4-11eaf568a331" providerId="ADAL" clId="{658CE56F-80AF-4E66-9150-288E6F61AEDB}" dt="2021-12-08T10:53:39.154" v="654"/>
          <ac:grpSpMkLst>
            <pc:docMk/>
            <pc:sldMk cId="2396773110" sldId="2147375747"/>
            <ac:grpSpMk id="28" creationId="{652C56EE-503E-4670-80B8-90D9BC966A33}"/>
          </ac:grpSpMkLst>
        </pc:grpChg>
        <pc:grpChg chg="mod">
          <ac:chgData name="Robertson, Daniel" userId="4fd6f56b-898f-4008-a6b4-11eaf568a331" providerId="ADAL" clId="{658CE56F-80AF-4E66-9150-288E6F61AEDB}" dt="2021-12-08T10:53:37.086" v="653"/>
          <ac:grpSpMkLst>
            <pc:docMk/>
            <pc:sldMk cId="2396773110" sldId="2147375747"/>
            <ac:grpSpMk id="72" creationId="{89C0FF48-309D-42BB-82B7-417B77C727B1}"/>
          </ac:grpSpMkLst>
        </pc:grpChg>
        <pc:grpChg chg="mod">
          <ac:chgData name="Robertson, Daniel" userId="4fd6f56b-898f-4008-a6b4-11eaf568a331" providerId="ADAL" clId="{658CE56F-80AF-4E66-9150-288E6F61AEDB}" dt="2021-12-08T10:53:37.086" v="653"/>
          <ac:grpSpMkLst>
            <pc:docMk/>
            <pc:sldMk cId="2396773110" sldId="2147375747"/>
            <ac:grpSpMk id="77" creationId="{72AE3138-961A-4240-AD8D-22CC9DCF4078}"/>
          </ac:grpSpMkLst>
        </pc:grpChg>
        <pc:grpChg chg="mod">
          <ac:chgData name="Robertson, Daniel" userId="4fd6f56b-898f-4008-a6b4-11eaf568a331" providerId="ADAL" clId="{658CE56F-80AF-4E66-9150-288E6F61AEDB}" dt="2021-12-08T10:53:37.086" v="653"/>
          <ac:grpSpMkLst>
            <pc:docMk/>
            <pc:sldMk cId="2396773110" sldId="2147375747"/>
            <ac:grpSpMk id="79" creationId="{0E2909A4-5817-432C-AA35-6CD0516675A6}"/>
          </ac:grpSpMkLst>
        </pc:grpChg>
        <pc:grpChg chg="add del mod">
          <ac:chgData name="Robertson, Daniel" userId="4fd6f56b-898f-4008-a6b4-11eaf568a331" providerId="ADAL" clId="{658CE56F-80AF-4E66-9150-288E6F61AEDB}" dt="2021-12-08T10:53:53.094" v="659" actId="478"/>
          <ac:grpSpMkLst>
            <pc:docMk/>
            <pc:sldMk cId="2396773110" sldId="2147375747"/>
            <ac:grpSpMk id="90" creationId="{797B4443-D3C5-433A-9727-9A89ED9DF072}"/>
          </ac:grpSpMkLst>
        </pc:grpChg>
        <pc:grpChg chg="mod">
          <ac:chgData name="Robertson, Daniel" userId="4fd6f56b-898f-4008-a6b4-11eaf568a331" providerId="ADAL" clId="{658CE56F-80AF-4E66-9150-288E6F61AEDB}" dt="2021-12-08T10:53:51.343" v="658" actId="14100"/>
          <ac:grpSpMkLst>
            <pc:docMk/>
            <pc:sldMk cId="2396773110" sldId="2147375747"/>
            <ac:grpSpMk id="134" creationId="{DDFAFC5C-37E0-4655-AD13-F8434374E86B}"/>
          </ac:grpSpMkLst>
        </pc:grpChg>
        <pc:grpChg chg="mod">
          <ac:chgData name="Robertson, Daniel" userId="4fd6f56b-898f-4008-a6b4-11eaf568a331" providerId="ADAL" clId="{658CE56F-80AF-4E66-9150-288E6F61AEDB}" dt="2021-12-08T10:53:51.343" v="658" actId="14100"/>
          <ac:grpSpMkLst>
            <pc:docMk/>
            <pc:sldMk cId="2396773110" sldId="2147375747"/>
            <ac:grpSpMk id="139" creationId="{CBF74C2D-646F-4B94-9E69-D7C8A6907F76}"/>
          </ac:grpSpMkLst>
        </pc:grpChg>
        <pc:grpChg chg="mod">
          <ac:chgData name="Robertson, Daniel" userId="4fd6f56b-898f-4008-a6b4-11eaf568a331" providerId="ADAL" clId="{658CE56F-80AF-4E66-9150-288E6F61AEDB}" dt="2021-12-08T10:53:51.343" v="658" actId="14100"/>
          <ac:grpSpMkLst>
            <pc:docMk/>
            <pc:sldMk cId="2396773110" sldId="2147375747"/>
            <ac:grpSpMk id="141" creationId="{3591BCA6-4114-4D87-9C99-F6C74A826707}"/>
          </ac:grpSpMkLst>
        </pc:grpChg>
        <pc:picChg chg="add mod">
          <ac:chgData name="Robertson, Daniel" userId="4fd6f56b-898f-4008-a6b4-11eaf568a331" providerId="ADAL" clId="{658CE56F-80AF-4E66-9150-288E6F61AEDB}" dt="2021-12-08T10:56:03.634" v="666" actId="1076"/>
          <ac:picMkLst>
            <pc:docMk/>
            <pc:sldMk cId="2396773110" sldId="2147375747"/>
            <ac:picMk id="2" creationId="{9CA2FD8C-17F8-46C0-9461-A1FAFE6B0617}"/>
          </ac:picMkLst>
        </pc:picChg>
        <pc:picChg chg="add mod">
          <ac:chgData name="Robertson, Daniel" userId="4fd6f56b-898f-4008-a6b4-11eaf568a331" providerId="ADAL" clId="{658CE56F-80AF-4E66-9150-288E6F61AEDB}" dt="2021-12-08T10:56:21.182" v="669" actId="14100"/>
          <ac:picMkLst>
            <pc:docMk/>
            <pc:sldMk cId="2396773110" sldId="2147375747"/>
            <ac:picMk id="3" creationId="{E602A432-A7DE-4E25-8FBA-D63E77D103B4}"/>
          </ac:picMkLst>
        </pc:picChg>
        <pc:picChg chg="mod">
          <ac:chgData name="Robertson, Daniel" userId="4fd6f56b-898f-4008-a6b4-11eaf568a331" providerId="ADAL" clId="{658CE56F-80AF-4E66-9150-288E6F61AEDB}" dt="2021-12-08T10:53:37.086" v="653"/>
          <ac:picMkLst>
            <pc:docMk/>
            <pc:sldMk cId="2396773110" sldId="2147375747"/>
            <ac:picMk id="31" creationId="{11CED65B-1EFD-4372-B184-4D6150EDA912}"/>
          </ac:picMkLst>
        </pc:picChg>
        <pc:picChg chg="mod">
          <ac:chgData name="Robertson, Daniel" userId="4fd6f56b-898f-4008-a6b4-11eaf568a331" providerId="ADAL" clId="{658CE56F-80AF-4E66-9150-288E6F61AEDB}" dt="2021-12-08T10:53:37.086" v="653"/>
          <ac:picMkLst>
            <pc:docMk/>
            <pc:sldMk cId="2396773110" sldId="2147375747"/>
            <ac:picMk id="69" creationId="{0FF250A3-D78B-4360-B77F-3D55414E05BC}"/>
          </ac:picMkLst>
        </pc:picChg>
        <pc:picChg chg="mod">
          <ac:chgData name="Robertson, Daniel" userId="4fd6f56b-898f-4008-a6b4-11eaf568a331" providerId="ADAL" clId="{658CE56F-80AF-4E66-9150-288E6F61AEDB}" dt="2021-12-08T10:53:37.086" v="653"/>
          <ac:picMkLst>
            <pc:docMk/>
            <pc:sldMk cId="2396773110" sldId="2147375747"/>
            <ac:picMk id="73" creationId="{6701A7FF-62DE-4D36-A52E-57A86672368A}"/>
          </ac:picMkLst>
        </pc:picChg>
        <pc:picChg chg="mod">
          <ac:chgData name="Robertson, Daniel" userId="4fd6f56b-898f-4008-a6b4-11eaf568a331" providerId="ADAL" clId="{658CE56F-80AF-4E66-9150-288E6F61AEDB}" dt="2021-12-08T10:53:37.086" v="653"/>
          <ac:picMkLst>
            <pc:docMk/>
            <pc:sldMk cId="2396773110" sldId="2147375747"/>
            <ac:picMk id="74" creationId="{720608CA-45C0-4B59-9DF4-6C5909297173}"/>
          </ac:picMkLst>
        </pc:picChg>
        <pc:picChg chg="mod">
          <ac:chgData name="Robertson, Daniel" userId="4fd6f56b-898f-4008-a6b4-11eaf568a331" providerId="ADAL" clId="{658CE56F-80AF-4E66-9150-288E6F61AEDB}" dt="2021-12-08T10:53:37.086" v="653"/>
          <ac:picMkLst>
            <pc:docMk/>
            <pc:sldMk cId="2396773110" sldId="2147375747"/>
            <ac:picMk id="75" creationId="{3555BD1B-7EA1-4DE5-B0A8-951A40DA544D}"/>
          </ac:picMkLst>
        </pc:picChg>
        <pc:picChg chg="mod">
          <ac:chgData name="Robertson, Daniel" userId="4fd6f56b-898f-4008-a6b4-11eaf568a331" providerId="ADAL" clId="{658CE56F-80AF-4E66-9150-288E6F61AEDB}" dt="2021-12-08T10:53:37.086" v="653"/>
          <ac:picMkLst>
            <pc:docMk/>
            <pc:sldMk cId="2396773110" sldId="2147375747"/>
            <ac:picMk id="76" creationId="{D5CCA0A4-9D0E-4558-80B4-DD7032DC8826}"/>
          </ac:picMkLst>
        </pc:picChg>
        <pc:picChg chg="mod">
          <ac:chgData name="Robertson, Daniel" userId="4fd6f56b-898f-4008-a6b4-11eaf568a331" providerId="ADAL" clId="{658CE56F-80AF-4E66-9150-288E6F61AEDB}" dt="2021-12-08T10:53:37.086" v="653"/>
          <ac:picMkLst>
            <pc:docMk/>
            <pc:sldMk cId="2396773110" sldId="2147375747"/>
            <ac:picMk id="78" creationId="{F37100CA-285E-4385-B92E-FEA6817B6E5D}"/>
          </ac:picMkLst>
        </pc:picChg>
        <pc:picChg chg="mod">
          <ac:chgData name="Robertson, Daniel" userId="4fd6f56b-898f-4008-a6b4-11eaf568a331" providerId="ADAL" clId="{658CE56F-80AF-4E66-9150-288E6F61AEDB}" dt="2021-12-08T10:53:37.086" v="653"/>
          <ac:picMkLst>
            <pc:docMk/>
            <pc:sldMk cId="2396773110" sldId="2147375747"/>
            <ac:picMk id="80" creationId="{8D96B11E-096E-4D73-8831-50E88938577F}"/>
          </ac:picMkLst>
        </pc:picChg>
        <pc:picChg chg="mod">
          <ac:chgData name="Robertson, Daniel" userId="4fd6f56b-898f-4008-a6b4-11eaf568a331" providerId="ADAL" clId="{658CE56F-80AF-4E66-9150-288E6F61AEDB}" dt="2021-12-08T10:53:37.086" v="653"/>
          <ac:picMkLst>
            <pc:docMk/>
            <pc:sldMk cId="2396773110" sldId="2147375747"/>
            <ac:picMk id="82" creationId="{1B310ECA-8B9E-44C3-A7E6-FB5790713D72}"/>
          </ac:picMkLst>
        </pc:picChg>
        <pc:picChg chg="mod">
          <ac:chgData name="Robertson, Daniel" userId="4fd6f56b-898f-4008-a6b4-11eaf568a331" providerId="ADAL" clId="{658CE56F-80AF-4E66-9150-288E6F61AEDB}" dt="2021-12-08T10:53:37.086" v="653"/>
          <ac:picMkLst>
            <pc:docMk/>
            <pc:sldMk cId="2396773110" sldId="2147375747"/>
            <ac:picMk id="83" creationId="{9871CD1D-4EE0-45CF-830F-E967E849131D}"/>
          </ac:picMkLst>
        </pc:picChg>
        <pc:picChg chg="mod">
          <ac:chgData name="Robertson, Daniel" userId="4fd6f56b-898f-4008-a6b4-11eaf568a331" providerId="ADAL" clId="{658CE56F-80AF-4E66-9150-288E6F61AEDB}" dt="2021-12-08T10:53:51.343" v="658" actId="14100"/>
          <ac:picMkLst>
            <pc:docMk/>
            <pc:sldMk cId="2396773110" sldId="2147375747"/>
            <ac:picMk id="93" creationId="{C700103C-EA86-4D4C-9C70-A209EB2114EC}"/>
          </ac:picMkLst>
        </pc:picChg>
        <pc:picChg chg="mod">
          <ac:chgData name="Robertson, Daniel" userId="4fd6f56b-898f-4008-a6b4-11eaf568a331" providerId="ADAL" clId="{658CE56F-80AF-4E66-9150-288E6F61AEDB}" dt="2021-12-08T10:53:51.343" v="658" actId="14100"/>
          <ac:picMkLst>
            <pc:docMk/>
            <pc:sldMk cId="2396773110" sldId="2147375747"/>
            <ac:picMk id="131" creationId="{2F40086F-AB29-49CD-9D25-0F11428C6439}"/>
          </ac:picMkLst>
        </pc:picChg>
        <pc:picChg chg="mod">
          <ac:chgData name="Robertson, Daniel" userId="4fd6f56b-898f-4008-a6b4-11eaf568a331" providerId="ADAL" clId="{658CE56F-80AF-4E66-9150-288E6F61AEDB}" dt="2021-12-08T10:53:51.343" v="658" actId="14100"/>
          <ac:picMkLst>
            <pc:docMk/>
            <pc:sldMk cId="2396773110" sldId="2147375747"/>
            <ac:picMk id="135" creationId="{10F36CE0-5049-4B76-81DC-0DBF28C0854F}"/>
          </ac:picMkLst>
        </pc:picChg>
        <pc:picChg chg="mod">
          <ac:chgData name="Robertson, Daniel" userId="4fd6f56b-898f-4008-a6b4-11eaf568a331" providerId="ADAL" clId="{658CE56F-80AF-4E66-9150-288E6F61AEDB}" dt="2021-12-08T10:53:51.343" v="658" actId="14100"/>
          <ac:picMkLst>
            <pc:docMk/>
            <pc:sldMk cId="2396773110" sldId="2147375747"/>
            <ac:picMk id="136" creationId="{BBDA691B-23F7-40B2-BD18-0D8C9F1562F2}"/>
          </ac:picMkLst>
        </pc:picChg>
        <pc:picChg chg="mod">
          <ac:chgData name="Robertson, Daniel" userId="4fd6f56b-898f-4008-a6b4-11eaf568a331" providerId="ADAL" clId="{658CE56F-80AF-4E66-9150-288E6F61AEDB}" dt="2021-12-08T10:53:51.343" v="658" actId="14100"/>
          <ac:picMkLst>
            <pc:docMk/>
            <pc:sldMk cId="2396773110" sldId="2147375747"/>
            <ac:picMk id="137" creationId="{85F0F747-6716-492B-B111-3E439F5600E9}"/>
          </ac:picMkLst>
        </pc:picChg>
        <pc:picChg chg="mod">
          <ac:chgData name="Robertson, Daniel" userId="4fd6f56b-898f-4008-a6b4-11eaf568a331" providerId="ADAL" clId="{658CE56F-80AF-4E66-9150-288E6F61AEDB}" dt="2021-12-08T10:53:51.343" v="658" actId="14100"/>
          <ac:picMkLst>
            <pc:docMk/>
            <pc:sldMk cId="2396773110" sldId="2147375747"/>
            <ac:picMk id="138" creationId="{8B280FAF-D60E-4EBC-BA98-EFF46A330463}"/>
          </ac:picMkLst>
        </pc:picChg>
        <pc:picChg chg="mod">
          <ac:chgData name="Robertson, Daniel" userId="4fd6f56b-898f-4008-a6b4-11eaf568a331" providerId="ADAL" clId="{658CE56F-80AF-4E66-9150-288E6F61AEDB}" dt="2021-12-08T10:53:51.343" v="658" actId="14100"/>
          <ac:picMkLst>
            <pc:docMk/>
            <pc:sldMk cId="2396773110" sldId="2147375747"/>
            <ac:picMk id="140" creationId="{EDC1EC72-D25E-4150-B0F6-4453C8FFAA9C}"/>
          </ac:picMkLst>
        </pc:picChg>
        <pc:picChg chg="mod">
          <ac:chgData name="Robertson, Daniel" userId="4fd6f56b-898f-4008-a6b4-11eaf568a331" providerId="ADAL" clId="{658CE56F-80AF-4E66-9150-288E6F61AEDB}" dt="2021-12-08T10:53:51.343" v="658" actId="14100"/>
          <ac:picMkLst>
            <pc:docMk/>
            <pc:sldMk cId="2396773110" sldId="2147375747"/>
            <ac:picMk id="142" creationId="{AB07673F-4032-40F7-B2CC-183266EDF63A}"/>
          </ac:picMkLst>
        </pc:picChg>
        <pc:picChg chg="mod">
          <ac:chgData name="Robertson, Daniel" userId="4fd6f56b-898f-4008-a6b4-11eaf568a331" providerId="ADAL" clId="{658CE56F-80AF-4E66-9150-288E6F61AEDB}" dt="2021-12-08T10:53:51.343" v="658" actId="14100"/>
          <ac:picMkLst>
            <pc:docMk/>
            <pc:sldMk cId="2396773110" sldId="2147375747"/>
            <ac:picMk id="144" creationId="{A4DAD3BD-CCF0-439D-A89E-CCCB144E4CB9}"/>
          </ac:picMkLst>
        </pc:picChg>
        <pc:picChg chg="mod">
          <ac:chgData name="Robertson, Daniel" userId="4fd6f56b-898f-4008-a6b4-11eaf568a331" providerId="ADAL" clId="{658CE56F-80AF-4E66-9150-288E6F61AEDB}" dt="2021-12-08T10:53:51.343" v="658" actId="14100"/>
          <ac:picMkLst>
            <pc:docMk/>
            <pc:sldMk cId="2396773110" sldId="2147375747"/>
            <ac:picMk id="145" creationId="{1355D704-3AF8-4F73-AA37-793E8F286312}"/>
          </ac:picMkLst>
        </pc:picChg>
        <pc:cxnChg chg="mod">
          <ac:chgData name="Robertson, Daniel" userId="4fd6f56b-898f-4008-a6b4-11eaf568a331" providerId="ADAL" clId="{658CE56F-80AF-4E66-9150-288E6F61AEDB}" dt="2021-12-08T10:53:37.086" v="653"/>
          <ac:cxnSpMkLst>
            <pc:docMk/>
            <pc:sldMk cId="2396773110" sldId="2147375747"/>
            <ac:cxnSpMk id="42" creationId="{3C54FF53-ACF8-4340-B4D2-FFDC102D5C8D}"/>
          </ac:cxnSpMkLst>
        </pc:cxnChg>
        <pc:cxnChg chg="mod">
          <ac:chgData name="Robertson, Daniel" userId="4fd6f56b-898f-4008-a6b4-11eaf568a331" providerId="ADAL" clId="{658CE56F-80AF-4E66-9150-288E6F61AEDB}" dt="2021-12-08T10:53:37.086" v="653"/>
          <ac:cxnSpMkLst>
            <pc:docMk/>
            <pc:sldMk cId="2396773110" sldId="2147375747"/>
            <ac:cxnSpMk id="43" creationId="{59436C6B-E484-4CE3-9162-15408E35B9DB}"/>
          </ac:cxnSpMkLst>
        </pc:cxnChg>
        <pc:cxnChg chg="mod">
          <ac:chgData name="Robertson, Daniel" userId="4fd6f56b-898f-4008-a6b4-11eaf568a331" providerId="ADAL" clId="{658CE56F-80AF-4E66-9150-288E6F61AEDB}" dt="2021-12-08T10:53:37.086" v="653"/>
          <ac:cxnSpMkLst>
            <pc:docMk/>
            <pc:sldMk cId="2396773110" sldId="2147375747"/>
            <ac:cxnSpMk id="44" creationId="{F2A343D6-0B96-4F3A-AD3B-4DDDC1C175A2}"/>
          </ac:cxnSpMkLst>
        </pc:cxnChg>
        <pc:cxnChg chg="mod">
          <ac:chgData name="Robertson, Daniel" userId="4fd6f56b-898f-4008-a6b4-11eaf568a331" providerId="ADAL" clId="{658CE56F-80AF-4E66-9150-288E6F61AEDB}" dt="2021-12-08T10:53:37.086" v="653"/>
          <ac:cxnSpMkLst>
            <pc:docMk/>
            <pc:sldMk cId="2396773110" sldId="2147375747"/>
            <ac:cxnSpMk id="45" creationId="{342780C7-006E-4619-95F5-5986B9897F7E}"/>
          </ac:cxnSpMkLst>
        </pc:cxnChg>
        <pc:cxnChg chg="mod">
          <ac:chgData name="Robertson, Daniel" userId="4fd6f56b-898f-4008-a6b4-11eaf568a331" providerId="ADAL" clId="{658CE56F-80AF-4E66-9150-288E6F61AEDB}" dt="2021-12-08T10:53:37.086" v="653"/>
          <ac:cxnSpMkLst>
            <pc:docMk/>
            <pc:sldMk cId="2396773110" sldId="2147375747"/>
            <ac:cxnSpMk id="46" creationId="{A36F97BD-A633-4471-B636-B7A169D8B1AA}"/>
          </ac:cxnSpMkLst>
        </pc:cxnChg>
        <pc:cxnChg chg="mod">
          <ac:chgData name="Robertson, Daniel" userId="4fd6f56b-898f-4008-a6b4-11eaf568a331" providerId="ADAL" clId="{658CE56F-80AF-4E66-9150-288E6F61AEDB}" dt="2021-12-08T10:53:37.086" v="653"/>
          <ac:cxnSpMkLst>
            <pc:docMk/>
            <pc:sldMk cId="2396773110" sldId="2147375747"/>
            <ac:cxnSpMk id="48" creationId="{D40CAB76-E3E0-4738-9AB2-34B55E519E4C}"/>
          </ac:cxnSpMkLst>
        </pc:cxnChg>
        <pc:cxnChg chg="mod">
          <ac:chgData name="Robertson, Daniel" userId="4fd6f56b-898f-4008-a6b4-11eaf568a331" providerId="ADAL" clId="{658CE56F-80AF-4E66-9150-288E6F61AEDB}" dt="2021-12-08T10:53:37.086" v="653"/>
          <ac:cxnSpMkLst>
            <pc:docMk/>
            <pc:sldMk cId="2396773110" sldId="2147375747"/>
            <ac:cxnSpMk id="49" creationId="{41727B67-EAE3-41CF-BCB6-98D5EC8CE270}"/>
          </ac:cxnSpMkLst>
        </pc:cxnChg>
        <pc:cxnChg chg="mod">
          <ac:chgData name="Robertson, Daniel" userId="4fd6f56b-898f-4008-a6b4-11eaf568a331" providerId="ADAL" clId="{658CE56F-80AF-4E66-9150-288E6F61AEDB}" dt="2021-12-08T10:53:37.086" v="653"/>
          <ac:cxnSpMkLst>
            <pc:docMk/>
            <pc:sldMk cId="2396773110" sldId="2147375747"/>
            <ac:cxnSpMk id="66" creationId="{D76DCF16-AFCA-4143-8907-DF27CFCA3777}"/>
          </ac:cxnSpMkLst>
        </pc:cxnChg>
        <pc:cxnChg chg="mod">
          <ac:chgData name="Robertson, Daniel" userId="4fd6f56b-898f-4008-a6b4-11eaf568a331" providerId="ADAL" clId="{658CE56F-80AF-4E66-9150-288E6F61AEDB}" dt="2021-12-08T10:53:51.343" v="658" actId="14100"/>
          <ac:cxnSpMkLst>
            <pc:docMk/>
            <pc:sldMk cId="2396773110" sldId="2147375747"/>
            <ac:cxnSpMk id="104" creationId="{0155C92F-9720-4BD6-AEB2-7C41A5C7E873}"/>
          </ac:cxnSpMkLst>
        </pc:cxnChg>
        <pc:cxnChg chg="mod">
          <ac:chgData name="Robertson, Daniel" userId="4fd6f56b-898f-4008-a6b4-11eaf568a331" providerId="ADAL" clId="{658CE56F-80AF-4E66-9150-288E6F61AEDB}" dt="2021-12-08T10:53:51.343" v="658" actId="14100"/>
          <ac:cxnSpMkLst>
            <pc:docMk/>
            <pc:sldMk cId="2396773110" sldId="2147375747"/>
            <ac:cxnSpMk id="105" creationId="{4FC76C68-50F5-4ECD-9A15-BE911A0E90DB}"/>
          </ac:cxnSpMkLst>
        </pc:cxnChg>
        <pc:cxnChg chg="mod">
          <ac:chgData name="Robertson, Daniel" userId="4fd6f56b-898f-4008-a6b4-11eaf568a331" providerId="ADAL" clId="{658CE56F-80AF-4E66-9150-288E6F61AEDB}" dt="2021-12-08T10:53:51.343" v="658" actId="14100"/>
          <ac:cxnSpMkLst>
            <pc:docMk/>
            <pc:sldMk cId="2396773110" sldId="2147375747"/>
            <ac:cxnSpMk id="106" creationId="{04243838-F92C-456E-A369-3A11A2DEDC9A}"/>
          </ac:cxnSpMkLst>
        </pc:cxnChg>
        <pc:cxnChg chg="mod">
          <ac:chgData name="Robertson, Daniel" userId="4fd6f56b-898f-4008-a6b4-11eaf568a331" providerId="ADAL" clId="{658CE56F-80AF-4E66-9150-288E6F61AEDB}" dt="2021-12-08T10:53:51.343" v="658" actId="14100"/>
          <ac:cxnSpMkLst>
            <pc:docMk/>
            <pc:sldMk cId="2396773110" sldId="2147375747"/>
            <ac:cxnSpMk id="107" creationId="{3D0E4A01-766B-422A-B283-BCF0318D3E87}"/>
          </ac:cxnSpMkLst>
        </pc:cxnChg>
        <pc:cxnChg chg="mod">
          <ac:chgData name="Robertson, Daniel" userId="4fd6f56b-898f-4008-a6b4-11eaf568a331" providerId="ADAL" clId="{658CE56F-80AF-4E66-9150-288E6F61AEDB}" dt="2021-12-08T10:53:51.343" v="658" actId="14100"/>
          <ac:cxnSpMkLst>
            <pc:docMk/>
            <pc:sldMk cId="2396773110" sldId="2147375747"/>
            <ac:cxnSpMk id="108" creationId="{78820DAE-DECF-4DF6-A672-2DBE1C47E31C}"/>
          </ac:cxnSpMkLst>
        </pc:cxnChg>
        <pc:cxnChg chg="mod">
          <ac:chgData name="Robertson, Daniel" userId="4fd6f56b-898f-4008-a6b4-11eaf568a331" providerId="ADAL" clId="{658CE56F-80AF-4E66-9150-288E6F61AEDB}" dt="2021-12-08T10:53:51.343" v="658" actId="14100"/>
          <ac:cxnSpMkLst>
            <pc:docMk/>
            <pc:sldMk cId="2396773110" sldId="2147375747"/>
            <ac:cxnSpMk id="110" creationId="{8CB3324C-C916-4FD3-81FD-18FD34FFE352}"/>
          </ac:cxnSpMkLst>
        </pc:cxnChg>
        <pc:cxnChg chg="mod">
          <ac:chgData name="Robertson, Daniel" userId="4fd6f56b-898f-4008-a6b4-11eaf568a331" providerId="ADAL" clId="{658CE56F-80AF-4E66-9150-288E6F61AEDB}" dt="2021-12-08T10:53:51.343" v="658" actId="14100"/>
          <ac:cxnSpMkLst>
            <pc:docMk/>
            <pc:sldMk cId="2396773110" sldId="2147375747"/>
            <ac:cxnSpMk id="111" creationId="{61751298-C331-44AB-86F6-91223BA56022}"/>
          </ac:cxnSpMkLst>
        </pc:cxnChg>
        <pc:cxnChg chg="mod">
          <ac:chgData name="Robertson, Daniel" userId="4fd6f56b-898f-4008-a6b4-11eaf568a331" providerId="ADAL" clId="{658CE56F-80AF-4E66-9150-288E6F61AEDB}" dt="2021-12-08T10:53:51.343" v="658" actId="14100"/>
          <ac:cxnSpMkLst>
            <pc:docMk/>
            <pc:sldMk cId="2396773110" sldId="2147375747"/>
            <ac:cxnSpMk id="128" creationId="{3019AA55-FEA9-48D7-8416-202D53E04456}"/>
          </ac:cxnSpMkLst>
        </pc:cxnChg>
      </pc:sldChg>
      <pc:sldChg chg="addSp delSp modSp add del mod">
        <pc:chgData name="Robertson, Daniel" userId="4fd6f56b-898f-4008-a6b4-11eaf568a331" providerId="ADAL" clId="{658CE56F-80AF-4E66-9150-288E6F61AEDB}" dt="2021-12-09T17:00:37.086" v="4622" actId="47"/>
        <pc:sldMkLst>
          <pc:docMk/>
          <pc:sldMk cId="317542773" sldId="2147375748"/>
        </pc:sldMkLst>
        <pc:spChg chg="del">
          <ac:chgData name="Robertson, Daniel" userId="4fd6f56b-898f-4008-a6b4-11eaf568a331" providerId="ADAL" clId="{658CE56F-80AF-4E66-9150-288E6F61AEDB}" dt="2021-12-08T10:57:08.667" v="675" actId="478"/>
          <ac:spMkLst>
            <pc:docMk/>
            <pc:sldMk cId="317542773" sldId="2147375748"/>
            <ac:spMk id="6" creationId="{D4485F75-D66B-4DBB-A40F-A379785FF57D}"/>
          </ac:spMkLst>
        </pc:spChg>
        <pc:spChg chg="add mod">
          <ac:chgData name="Robertson, Daniel" userId="4fd6f56b-898f-4008-a6b4-11eaf568a331" providerId="ADAL" clId="{658CE56F-80AF-4E66-9150-288E6F61AEDB}" dt="2021-12-08T11:32:22.805" v="1729" actId="1076"/>
          <ac:spMkLst>
            <pc:docMk/>
            <pc:sldMk cId="317542773" sldId="2147375748"/>
            <ac:spMk id="7" creationId="{59A8B75E-B0A1-4BF5-99BE-72602B246363}"/>
          </ac:spMkLst>
        </pc:spChg>
        <pc:spChg chg="add mod">
          <ac:chgData name="Robertson, Daniel" userId="4fd6f56b-898f-4008-a6b4-11eaf568a331" providerId="ADAL" clId="{658CE56F-80AF-4E66-9150-288E6F61AEDB}" dt="2021-12-08T11:49:45.143" v="3001" actId="20577"/>
          <ac:spMkLst>
            <pc:docMk/>
            <pc:sldMk cId="317542773" sldId="2147375748"/>
            <ac:spMk id="8" creationId="{90293BE6-37DE-4040-945C-88D1EB34ECE0}"/>
          </ac:spMkLst>
        </pc:spChg>
        <pc:picChg chg="del">
          <ac:chgData name="Robertson, Daniel" userId="4fd6f56b-898f-4008-a6b4-11eaf568a331" providerId="ADAL" clId="{658CE56F-80AF-4E66-9150-288E6F61AEDB}" dt="2021-12-08T10:56:55.220" v="672" actId="478"/>
          <ac:picMkLst>
            <pc:docMk/>
            <pc:sldMk cId="317542773" sldId="2147375748"/>
            <ac:picMk id="2" creationId="{9CA2FD8C-17F8-46C0-9461-A1FAFE6B0617}"/>
          </ac:picMkLst>
        </pc:picChg>
        <pc:picChg chg="del">
          <ac:chgData name="Robertson, Daniel" userId="4fd6f56b-898f-4008-a6b4-11eaf568a331" providerId="ADAL" clId="{658CE56F-80AF-4E66-9150-288E6F61AEDB}" dt="2021-12-08T10:56:54.606" v="671" actId="478"/>
          <ac:picMkLst>
            <pc:docMk/>
            <pc:sldMk cId="317542773" sldId="2147375748"/>
            <ac:picMk id="3" creationId="{E602A432-A7DE-4E25-8FBA-D63E77D103B4}"/>
          </ac:picMkLst>
        </pc:picChg>
      </pc:sldChg>
      <pc:sldChg chg="addSp delSp modSp new del mod">
        <pc:chgData name="Robertson, Daniel" userId="4fd6f56b-898f-4008-a6b4-11eaf568a331" providerId="ADAL" clId="{658CE56F-80AF-4E66-9150-288E6F61AEDB}" dt="2021-12-09T17:00:37.086" v="4622" actId="47"/>
        <pc:sldMkLst>
          <pc:docMk/>
          <pc:sldMk cId="3967673031" sldId="2147375749"/>
        </pc:sldMkLst>
        <pc:spChg chg="mod">
          <ac:chgData name="Robertson, Daniel" userId="4fd6f56b-898f-4008-a6b4-11eaf568a331" providerId="ADAL" clId="{658CE56F-80AF-4E66-9150-288E6F61AEDB}" dt="2021-12-08T11:40:19.247" v="2276" actId="20577"/>
          <ac:spMkLst>
            <pc:docMk/>
            <pc:sldMk cId="3967673031" sldId="2147375749"/>
            <ac:spMk id="2" creationId="{74454F0B-8A32-4C75-B417-11BA0F71D2B2}"/>
          </ac:spMkLst>
        </pc:spChg>
        <pc:spChg chg="del">
          <ac:chgData name="Robertson, Daniel" userId="4fd6f56b-898f-4008-a6b4-11eaf568a331" providerId="ADAL" clId="{658CE56F-80AF-4E66-9150-288E6F61AEDB}" dt="2021-12-08T11:40:27.880" v="2277" actId="478"/>
          <ac:spMkLst>
            <pc:docMk/>
            <pc:sldMk cId="3967673031" sldId="2147375749"/>
            <ac:spMk id="3" creationId="{C00BD4C3-93E3-409F-BA80-CEDA55AA332F}"/>
          </ac:spMkLst>
        </pc:spChg>
        <pc:spChg chg="add mod">
          <ac:chgData name="Robertson, Daniel" userId="4fd6f56b-898f-4008-a6b4-11eaf568a331" providerId="ADAL" clId="{658CE56F-80AF-4E66-9150-288E6F61AEDB}" dt="2021-12-08T11:55:58.829" v="3615" actId="20577"/>
          <ac:spMkLst>
            <pc:docMk/>
            <pc:sldMk cId="3967673031" sldId="2147375749"/>
            <ac:spMk id="5" creationId="{D53C1740-6BAB-436D-9F8A-12A4738B3385}"/>
          </ac:spMkLst>
        </pc:spChg>
        <pc:spChg chg="add mod">
          <ac:chgData name="Robertson, Daniel" userId="4fd6f56b-898f-4008-a6b4-11eaf568a331" providerId="ADAL" clId="{658CE56F-80AF-4E66-9150-288E6F61AEDB}" dt="2021-12-08T11:50:12.958" v="3048" actId="14100"/>
          <ac:spMkLst>
            <pc:docMk/>
            <pc:sldMk cId="3967673031" sldId="2147375749"/>
            <ac:spMk id="6" creationId="{8FEE1862-16F5-45E5-B410-36A72CFCE947}"/>
          </ac:spMkLst>
        </pc:spChg>
        <pc:spChg chg="add mod">
          <ac:chgData name="Robertson, Daniel" userId="4fd6f56b-898f-4008-a6b4-11eaf568a331" providerId="ADAL" clId="{658CE56F-80AF-4E66-9150-288E6F61AEDB}" dt="2021-12-08T11:53:43.745" v="3337" actId="20577"/>
          <ac:spMkLst>
            <pc:docMk/>
            <pc:sldMk cId="3967673031" sldId="2147375749"/>
            <ac:spMk id="7" creationId="{209428A4-B39F-4C89-B9CA-4393551A101B}"/>
          </ac:spMkLst>
        </pc:spChg>
        <pc:spChg chg="add mod">
          <ac:chgData name="Robertson, Daniel" userId="4fd6f56b-898f-4008-a6b4-11eaf568a331" providerId="ADAL" clId="{658CE56F-80AF-4E66-9150-288E6F61AEDB}" dt="2021-12-08T11:56:23.795" v="3654" actId="20577"/>
          <ac:spMkLst>
            <pc:docMk/>
            <pc:sldMk cId="3967673031" sldId="2147375749"/>
            <ac:spMk id="8" creationId="{36D9E54D-DC62-40EE-80AA-C05A8BF4FD8A}"/>
          </ac:spMkLst>
        </pc:spChg>
        <pc:graphicFrameChg chg="add mod">
          <ac:chgData name="Robertson, Daniel" userId="4fd6f56b-898f-4008-a6b4-11eaf568a331" providerId="ADAL" clId="{658CE56F-80AF-4E66-9150-288E6F61AEDB}" dt="2021-12-08T11:50:44.439" v="3105"/>
          <ac:graphicFrameMkLst>
            <pc:docMk/>
            <pc:sldMk cId="3967673031" sldId="2147375749"/>
            <ac:graphicFrameMk id="4" creationId="{787F1134-1B81-430A-A123-000F3605A348}"/>
          </ac:graphicFrameMkLst>
        </pc:graphicFrameChg>
      </pc:sldChg>
      <pc:sldChg chg="addSp modSp new del mod">
        <pc:chgData name="Robertson, Daniel" userId="4fd6f56b-898f-4008-a6b4-11eaf568a331" providerId="ADAL" clId="{658CE56F-80AF-4E66-9150-288E6F61AEDB}" dt="2021-12-09T17:00:37.086" v="4622" actId="47"/>
        <pc:sldMkLst>
          <pc:docMk/>
          <pc:sldMk cId="2943541506" sldId="2147375750"/>
        </pc:sldMkLst>
        <pc:spChg chg="mod">
          <ac:chgData name="Robertson, Daniel" userId="4fd6f56b-898f-4008-a6b4-11eaf568a331" providerId="ADAL" clId="{658CE56F-80AF-4E66-9150-288E6F61AEDB}" dt="2021-12-08T11:56:49.295" v="3686" actId="20577"/>
          <ac:spMkLst>
            <pc:docMk/>
            <pc:sldMk cId="2943541506" sldId="2147375750"/>
            <ac:spMk id="2" creationId="{B2A9075A-45C1-49C0-A1EC-FD61B5C67A49}"/>
          </ac:spMkLst>
        </pc:spChg>
        <pc:spChg chg="mod">
          <ac:chgData name="Robertson, Daniel" userId="4fd6f56b-898f-4008-a6b4-11eaf568a331" providerId="ADAL" clId="{658CE56F-80AF-4E66-9150-288E6F61AEDB}" dt="2021-12-08T11:57:15.680" v="3687" actId="1076"/>
          <ac:spMkLst>
            <pc:docMk/>
            <pc:sldMk cId="2943541506" sldId="2147375750"/>
            <ac:spMk id="3" creationId="{6F139D7C-E797-4B4C-94C8-BB3691644633}"/>
          </ac:spMkLst>
        </pc:spChg>
        <pc:graphicFrameChg chg="add mod modGraphic">
          <ac:chgData name="Robertson, Daniel" userId="4fd6f56b-898f-4008-a6b4-11eaf568a331" providerId="ADAL" clId="{658CE56F-80AF-4E66-9150-288E6F61AEDB}" dt="2021-12-08T12:03:40.270" v="4144" actId="20577"/>
          <ac:graphicFrameMkLst>
            <pc:docMk/>
            <pc:sldMk cId="2943541506" sldId="2147375750"/>
            <ac:graphicFrameMk id="4" creationId="{190EE915-3D18-4E20-B53F-EC1C87792371}"/>
          </ac:graphicFrameMkLst>
        </pc:graphicFrameChg>
      </pc:sldChg>
      <pc:sldChg chg="addSp delSp modSp new del">
        <pc:chgData name="Robertson, Daniel" userId="4fd6f56b-898f-4008-a6b4-11eaf568a331" providerId="ADAL" clId="{658CE56F-80AF-4E66-9150-288E6F61AEDB}" dt="2021-12-09T17:00:37.086" v="4622" actId="47"/>
        <pc:sldMkLst>
          <pc:docMk/>
          <pc:sldMk cId="775039321" sldId="2147375751"/>
        </pc:sldMkLst>
        <pc:spChg chg="del">
          <ac:chgData name="Robertson, Daniel" userId="4fd6f56b-898f-4008-a6b4-11eaf568a331" providerId="ADAL" clId="{658CE56F-80AF-4E66-9150-288E6F61AEDB}" dt="2021-12-08T12:04:42.446" v="4146"/>
          <ac:spMkLst>
            <pc:docMk/>
            <pc:sldMk cId="775039321" sldId="2147375751"/>
            <ac:spMk id="2" creationId="{1B7A5AF0-EAF1-4FE5-8201-070708F98C24}"/>
          </ac:spMkLst>
        </pc:spChg>
        <pc:spChg chg="del">
          <ac:chgData name="Robertson, Daniel" userId="4fd6f56b-898f-4008-a6b4-11eaf568a331" providerId="ADAL" clId="{658CE56F-80AF-4E66-9150-288E6F61AEDB}" dt="2021-12-08T12:04:42.446" v="4146"/>
          <ac:spMkLst>
            <pc:docMk/>
            <pc:sldMk cId="775039321" sldId="2147375751"/>
            <ac:spMk id="3" creationId="{E61274C7-BAB5-426B-A36D-8AC8303AA52A}"/>
          </ac:spMkLst>
        </pc:spChg>
        <pc:spChg chg="add mod">
          <ac:chgData name="Robertson, Daniel" userId="4fd6f56b-898f-4008-a6b4-11eaf568a331" providerId="ADAL" clId="{658CE56F-80AF-4E66-9150-288E6F61AEDB}" dt="2021-12-08T12:04:42.446" v="4146"/>
          <ac:spMkLst>
            <pc:docMk/>
            <pc:sldMk cId="775039321" sldId="2147375751"/>
            <ac:spMk id="4" creationId="{38E4D65F-3BFC-4953-A112-FE6B7B0F6A0F}"/>
          </ac:spMkLst>
        </pc:spChg>
        <pc:spChg chg="add mod">
          <ac:chgData name="Robertson, Daniel" userId="4fd6f56b-898f-4008-a6b4-11eaf568a331" providerId="ADAL" clId="{658CE56F-80AF-4E66-9150-288E6F61AEDB}" dt="2021-12-08T12:04:42.446" v="4146"/>
          <ac:spMkLst>
            <pc:docMk/>
            <pc:sldMk cId="775039321" sldId="2147375751"/>
            <ac:spMk id="5" creationId="{86469028-C959-4F60-A687-BBAD54D96FE1}"/>
          </ac:spMkLst>
        </pc:spChg>
      </pc:sldChg>
      <pc:sldChg chg="addSp delSp modSp new del mod">
        <pc:chgData name="Robertson, Daniel" userId="4fd6f56b-898f-4008-a6b4-11eaf568a331" providerId="ADAL" clId="{658CE56F-80AF-4E66-9150-288E6F61AEDB}" dt="2021-12-09T17:00:37.086" v="4622" actId="47"/>
        <pc:sldMkLst>
          <pc:docMk/>
          <pc:sldMk cId="1246778007" sldId="2147375752"/>
        </pc:sldMkLst>
        <pc:spChg chg="mod">
          <ac:chgData name="Robertson, Daniel" userId="4fd6f56b-898f-4008-a6b4-11eaf568a331" providerId="ADAL" clId="{658CE56F-80AF-4E66-9150-288E6F61AEDB}" dt="2021-12-08T15:22:54.094" v="4301" actId="1035"/>
          <ac:spMkLst>
            <pc:docMk/>
            <pc:sldMk cId="1246778007" sldId="2147375752"/>
            <ac:spMk id="2" creationId="{3EBFAD0C-ED4A-48FD-B5FB-6D25B8EECE40}"/>
          </ac:spMkLst>
        </pc:spChg>
        <pc:spChg chg="del mod">
          <ac:chgData name="Robertson, Daniel" userId="4fd6f56b-898f-4008-a6b4-11eaf568a331" providerId="ADAL" clId="{658CE56F-80AF-4E66-9150-288E6F61AEDB}" dt="2021-12-08T14:24:46.284" v="4184" actId="478"/>
          <ac:spMkLst>
            <pc:docMk/>
            <pc:sldMk cId="1246778007" sldId="2147375752"/>
            <ac:spMk id="3" creationId="{B13A1884-89DE-4F5E-BC07-39F60F595B2A}"/>
          </ac:spMkLst>
        </pc:spChg>
        <pc:spChg chg="add mod">
          <ac:chgData name="Robertson, Daniel" userId="4fd6f56b-898f-4008-a6b4-11eaf568a331" providerId="ADAL" clId="{658CE56F-80AF-4E66-9150-288E6F61AEDB}" dt="2021-12-08T14:26:11.880" v="4236" actId="1076"/>
          <ac:spMkLst>
            <pc:docMk/>
            <pc:sldMk cId="1246778007" sldId="2147375752"/>
            <ac:spMk id="4" creationId="{1CAE5921-6199-4E86-B1A2-2EC1879F2314}"/>
          </ac:spMkLst>
        </pc:spChg>
        <pc:spChg chg="add del mod">
          <ac:chgData name="Robertson, Daniel" userId="4fd6f56b-898f-4008-a6b4-11eaf568a331" providerId="ADAL" clId="{658CE56F-80AF-4E66-9150-288E6F61AEDB}" dt="2021-12-08T15:35:13.262" v="4433" actId="21"/>
          <ac:spMkLst>
            <pc:docMk/>
            <pc:sldMk cId="1246778007" sldId="2147375752"/>
            <ac:spMk id="5" creationId="{B164B23C-5E42-43F0-ACF8-2E0541A9FBDE}"/>
          </ac:spMkLst>
        </pc:spChg>
        <pc:spChg chg="add mod">
          <ac:chgData name="Robertson, Daniel" userId="4fd6f56b-898f-4008-a6b4-11eaf568a331" providerId="ADAL" clId="{658CE56F-80AF-4E66-9150-288E6F61AEDB}" dt="2021-12-08T14:27:04.902" v="4247" actId="20577"/>
          <ac:spMkLst>
            <pc:docMk/>
            <pc:sldMk cId="1246778007" sldId="2147375752"/>
            <ac:spMk id="6" creationId="{902D7E61-7F03-47A9-9CC0-07C9F76AC4C2}"/>
          </ac:spMkLst>
        </pc:spChg>
        <pc:spChg chg="add mod">
          <ac:chgData name="Robertson, Daniel" userId="4fd6f56b-898f-4008-a6b4-11eaf568a331" providerId="ADAL" clId="{658CE56F-80AF-4E66-9150-288E6F61AEDB}" dt="2021-12-08T14:28:32.052" v="4251" actId="20577"/>
          <ac:spMkLst>
            <pc:docMk/>
            <pc:sldMk cId="1246778007" sldId="2147375752"/>
            <ac:spMk id="7" creationId="{6B5CD5EC-F226-4811-9F2D-099C4BEC3B80}"/>
          </ac:spMkLst>
        </pc:spChg>
        <pc:spChg chg="add mod">
          <ac:chgData name="Robertson, Daniel" userId="4fd6f56b-898f-4008-a6b4-11eaf568a331" providerId="ADAL" clId="{658CE56F-80AF-4E66-9150-288E6F61AEDB}" dt="2021-12-08T15:24:11.857" v="4321" actId="1036"/>
          <ac:spMkLst>
            <pc:docMk/>
            <pc:sldMk cId="1246778007" sldId="2147375752"/>
            <ac:spMk id="10" creationId="{C7B3B3E5-C749-4564-A0F9-2A7CAC31EA01}"/>
          </ac:spMkLst>
        </pc:spChg>
        <pc:spChg chg="add mod">
          <ac:chgData name="Robertson, Daniel" userId="4fd6f56b-898f-4008-a6b4-11eaf568a331" providerId="ADAL" clId="{658CE56F-80AF-4E66-9150-288E6F61AEDB}" dt="2021-12-08T15:24:52.519" v="4331" actId="14100"/>
          <ac:spMkLst>
            <pc:docMk/>
            <pc:sldMk cId="1246778007" sldId="2147375752"/>
            <ac:spMk id="11" creationId="{207690AC-6685-480D-BB75-3D2BA25612FC}"/>
          </ac:spMkLst>
        </pc:spChg>
        <pc:spChg chg="add mod">
          <ac:chgData name="Robertson, Daniel" userId="4fd6f56b-898f-4008-a6b4-11eaf568a331" providerId="ADAL" clId="{658CE56F-80AF-4E66-9150-288E6F61AEDB}" dt="2021-12-08T15:33:36.699" v="4404" actId="14100"/>
          <ac:spMkLst>
            <pc:docMk/>
            <pc:sldMk cId="1246778007" sldId="2147375752"/>
            <ac:spMk id="12" creationId="{BCF68806-E60F-4BD2-B638-A577B453AFA2}"/>
          </ac:spMkLst>
        </pc:spChg>
        <pc:spChg chg="add mod">
          <ac:chgData name="Robertson, Daniel" userId="4fd6f56b-898f-4008-a6b4-11eaf568a331" providerId="ADAL" clId="{658CE56F-80AF-4E66-9150-288E6F61AEDB}" dt="2021-12-08T15:33:43.061" v="4406" actId="1076"/>
          <ac:spMkLst>
            <pc:docMk/>
            <pc:sldMk cId="1246778007" sldId="2147375752"/>
            <ac:spMk id="13" creationId="{671F7C46-6CC8-4B3E-99E7-FA0691E904C1}"/>
          </ac:spMkLst>
        </pc:spChg>
        <pc:spChg chg="add mod">
          <ac:chgData name="Robertson, Daniel" userId="4fd6f56b-898f-4008-a6b4-11eaf568a331" providerId="ADAL" clId="{658CE56F-80AF-4E66-9150-288E6F61AEDB}" dt="2021-12-08T15:34:59.777" v="4431" actId="20577"/>
          <ac:spMkLst>
            <pc:docMk/>
            <pc:sldMk cId="1246778007" sldId="2147375752"/>
            <ac:spMk id="14" creationId="{E6D8B764-3A18-44E8-A317-6224A52E59AF}"/>
          </ac:spMkLst>
        </pc:spChg>
        <pc:spChg chg="add del mod">
          <ac:chgData name="Robertson, Daniel" userId="4fd6f56b-898f-4008-a6b4-11eaf568a331" providerId="ADAL" clId="{658CE56F-80AF-4E66-9150-288E6F61AEDB}" dt="2021-12-08T15:36:05.260" v="4457" actId="478"/>
          <ac:spMkLst>
            <pc:docMk/>
            <pc:sldMk cId="1246778007" sldId="2147375752"/>
            <ac:spMk id="15" creationId="{7E0C80E3-D120-49BF-8058-4507D0134E85}"/>
          </ac:spMkLst>
        </pc:spChg>
        <pc:spChg chg="add del mod">
          <ac:chgData name="Robertson, Daniel" userId="4fd6f56b-898f-4008-a6b4-11eaf568a331" providerId="ADAL" clId="{658CE56F-80AF-4E66-9150-288E6F61AEDB}" dt="2021-12-08T15:36:05.260" v="4457" actId="478"/>
          <ac:spMkLst>
            <pc:docMk/>
            <pc:sldMk cId="1246778007" sldId="2147375752"/>
            <ac:spMk id="16" creationId="{86B1728A-1BFD-4C6E-A73C-8F765FF5C49C}"/>
          </ac:spMkLst>
        </pc:spChg>
        <pc:spChg chg="add del mod">
          <ac:chgData name="Robertson, Daniel" userId="4fd6f56b-898f-4008-a6b4-11eaf568a331" providerId="ADAL" clId="{658CE56F-80AF-4E66-9150-288E6F61AEDB}" dt="2021-12-08T15:36:05.260" v="4457" actId="478"/>
          <ac:spMkLst>
            <pc:docMk/>
            <pc:sldMk cId="1246778007" sldId="2147375752"/>
            <ac:spMk id="17" creationId="{99DDF9C5-6EFD-4357-8FDD-21A75952153A}"/>
          </ac:spMkLst>
        </pc:spChg>
        <pc:spChg chg="add mod">
          <ac:chgData name="Robertson, Daniel" userId="4fd6f56b-898f-4008-a6b4-11eaf568a331" providerId="ADAL" clId="{658CE56F-80AF-4E66-9150-288E6F61AEDB}" dt="2021-12-08T15:37:02.438" v="4466" actId="14100"/>
          <ac:spMkLst>
            <pc:docMk/>
            <pc:sldMk cId="1246778007" sldId="2147375752"/>
            <ac:spMk id="18" creationId="{499FB446-B93D-497B-8C22-85941F833BA1}"/>
          </ac:spMkLst>
        </pc:spChg>
        <pc:spChg chg="add mod">
          <ac:chgData name="Robertson, Daniel" userId="4fd6f56b-898f-4008-a6b4-11eaf568a331" providerId="ADAL" clId="{658CE56F-80AF-4E66-9150-288E6F61AEDB}" dt="2021-12-08T15:37:19.048" v="4495" actId="20577"/>
          <ac:spMkLst>
            <pc:docMk/>
            <pc:sldMk cId="1246778007" sldId="2147375752"/>
            <ac:spMk id="19" creationId="{565AA11F-38D9-42E5-B8E7-B9C36DF200E7}"/>
          </ac:spMkLst>
        </pc:spChg>
        <pc:spChg chg="add mod">
          <ac:chgData name="Robertson, Daniel" userId="4fd6f56b-898f-4008-a6b4-11eaf568a331" providerId="ADAL" clId="{658CE56F-80AF-4E66-9150-288E6F61AEDB}" dt="2021-12-08T15:37:33.447" v="4505" actId="20577"/>
          <ac:spMkLst>
            <pc:docMk/>
            <pc:sldMk cId="1246778007" sldId="2147375752"/>
            <ac:spMk id="20" creationId="{7E1F844B-5AE9-4B8F-A14D-D7216BCDE188}"/>
          </ac:spMkLst>
        </pc:spChg>
        <pc:spChg chg="add mod">
          <ac:chgData name="Robertson, Daniel" userId="4fd6f56b-898f-4008-a6b4-11eaf568a331" providerId="ADAL" clId="{658CE56F-80AF-4E66-9150-288E6F61AEDB}" dt="2021-12-08T16:07:20.979" v="4536" actId="5793"/>
          <ac:spMkLst>
            <pc:docMk/>
            <pc:sldMk cId="1246778007" sldId="2147375752"/>
            <ac:spMk id="21" creationId="{2035B70E-6356-449C-8DD4-8D4E4519105A}"/>
          </ac:spMkLst>
        </pc:spChg>
        <pc:spChg chg="add mod">
          <ac:chgData name="Robertson, Daniel" userId="4fd6f56b-898f-4008-a6b4-11eaf568a331" providerId="ADAL" clId="{658CE56F-80AF-4E66-9150-288E6F61AEDB}" dt="2021-12-08T16:07:28.503" v="4546" actId="20577"/>
          <ac:spMkLst>
            <pc:docMk/>
            <pc:sldMk cId="1246778007" sldId="2147375752"/>
            <ac:spMk id="22" creationId="{3265E545-C058-44F8-ACC0-3C706ACE7BF5}"/>
          </ac:spMkLst>
        </pc:spChg>
        <pc:spChg chg="add mod">
          <ac:chgData name="Robertson, Daniel" userId="4fd6f56b-898f-4008-a6b4-11eaf568a331" providerId="ADAL" clId="{658CE56F-80AF-4E66-9150-288E6F61AEDB}" dt="2021-12-08T16:08:18.745" v="4570" actId="20577"/>
          <ac:spMkLst>
            <pc:docMk/>
            <pc:sldMk cId="1246778007" sldId="2147375752"/>
            <ac:spMk id="23" creationId="{DF517FBE-1CF4-4A19-B68A-4AFCFF90372B}"/>
          </ac:spMkLst>
        </pc:spChg>
        <pc:spChg chg="add mod">
          <ac:chgData name="Robertson, Daniel" userId="4fd6f56b-898f-4008-a6b4-11eaf568a331" providerId="ADAL" clId="{658CE56F-80AF-4E66-9150-288E6F61AEDB}" dt="2021-12-08T16:08:47.095" v="4598" actId="20577"/>
          <ac:spMkLst>
            <pc:docMk/>
            <pc:sldMk cId="1246778007" sldId="2147375752"/>
            <ac:spMk id="24" creationId="{779AA9FF-AF42-4622-AACB-DF8B49C78CDA}"/>
          </ac:spMkLst>
        </pc:spChg>
        <pc:spChg chg="add mod">
          <ac:chgData name="Robertson, Daniel" userId="4fd6f56b-898f-4008-a6b4-11eaf568a331" providerId="ADAL" clId="{658CE56F-80AF-4E66-9150-288E6F61AEDB}" dt="2021-12-08T16:09:05.628" v="4607" actId="20577"/>
          <ac:spMkLst>
            <pc:docMk/>
            <pc:sldMk cId="1246778007" sldId="2147375752"/>
            <ac:spMk id="25" creationId="{C27C24CB-F1FA-46DF-9D08-934A708AF71B}"/>
          </ac:spMkLst>
        </pc:spChg>
        <pc:spChg chg="add mod">
          <ac:chgData name="Robertson, Daniel" userId="4fd6f56b-898f-4008-a6b4-11eaf568a331" providerId="ADAL" clId="{658CE56F-80AF-4E66-9150-288E6F61AEDB}" dt="2021-12-08T16:09:15.328" v="4620" actId="20577"/>
          <ac:spMkLst>
            <pc:docMk/>
            <pc:sldMk cId="1246778007" sldId="2147375752"/>
            <ac:spMk id="26" creationId="{88B3B405-77CF-427B-B5DA-41E9FDA697D7}"/>
          </ac:spMkLst>
        </pc:spChg>
        <pc:cxnChg chg="add del mod">
          <ac:chgData name="Robertson, Daniel" userId="4fd6f56b-898f-4008-a6b4-11eaf568a331" providerId="ADAL" clId="{658CE56F-80AF-4E66-9150-288E6F61AEDB}" dt="2021-12-08T14:26:51.499" v="4239" actId="478"/>
          <ac:cxnSpMkLst>
            <pc:docMk/>
            <pc:sldMk cId="1246778007" sldId="2147375752"/>
            <ac:cxnSpMk id="9" creationId="{AD65B883-8B6A-4575-A7CE-9882B6199064}"/>
          </ac:cxnSpMkLst>
        </pc:cxnChg>
      </pc:sldChg>
      <pc:sldChg chg="add">
        <pc:chgData name="Robertson, Daniel" userId="4fd6f56b-898f-4008-a6b4-11eaf568a331" providerId="ADAL" clId="{658CE56F-80AF-4E66-9150-288E6F61AEDB}" dt="2021-12-09T17:00:29.926" v="4621"/>
        <pc:sldMkLst>
          <pc:docMk/>
          <pc:sldMk cId="3976775193" sldId="2147375753"/>
        </pc:sldMkLst>
      </pc:sldChg>
      <pc:sldChg chg="add">
        <pc:chgData name="Robertson, Daniel" userId="4fd6f56b-898f-4008-a6b4-11eaf568a331" providerId="ADAL" clId="{658CE56F-80AF-4E66-9150-288E6F61AEDB}" dt="2021-12-09T17:00:29.926" v="4621"/>
        <pc:sldMkLst>
          <pc:docMk/>
          <pc:sldMk cId="3727481845" sldId="2147375754"/>
        </pc:sldMkLst>
      </pc:sldChg>
      <pc:sldChg chg="add">
        <pc:chgData name="Robertson, Daniel" userId="4fd6f56b-898f-4008-a6b4-11eaf568a331" providerId="ADAL" clId="{658CE56F-80AF-4E66-9150-288E6F61AEDB}" dt="2021-12-09T17:00:29.926" v="4621"/>
        <pc:sldMkLst>
          <pc:docMk/>
          <pc:sldMk cId="996367532" sldId="2147375755"/>
        </pc:sldMkLst>
      </pc:sldChg>
      <pc:sldChg chg="add">
        <pc:chgData name="Robertson, Daniel" userId="4fd6f56b-898f-4008-a6b4-11eaf568a331" providerId="ADAL" clId="{658CE56F-80AF-4E66-9150-288E6F61AEDB}" dt="2021-12-09T17:00:29.926" v="4621"/>
        <pc:sldMkLst>
          <pc:docMk/>
          <pc:sldMk cId="2611373952" sldId="2147375756"/>
        </pc:sldMkLst>
      </pc:sldChg>
      <pc:sldChg chg="add">
        <pc:chgData name="Robertson, Daniel" userId="4fd6f56b-898f-4008-a6b4-11eaf568a331" providerId="ADAL" clId="{658CE56F-80AF-4E66-9150-288E6F61AEDB}" dt="2021-12-09T17:00:29.926" v="4621"/>
        <pc:sldMkLst>
          <pc:docMk/>
          <pc:sldMk cId="212329579" sldId="2147375757"/>
        </pc:sldMkLst>
      </pc:sldChg>
      <pc:sldChg chg="add">
        <pc:chgData name="Robertson, Daniel" userId="4fd6f56b-898f-4008-a6b4-11eaf568a331" providerId="ADAL" clId="{658CE56F-80AF-4E66-9150-288E6F61AEDB}" dt="2021-12-09T17:00:29.926" v="4621"/>
        <pc:sldMkLst>
          <pc:docMk/>
          <pc:sldMk cId="805593243" sldId="2147375758"/>
        </pc:sldMkLst>
      </pc:sldChg>
      <pc:sldChg chg="add">
        <pc:chgData name="Robertson, Daniel" userId="4fd6f56b-898f-4008-a6b4-11eaf568a331" providerId="ADAL" clId="{658CE56F-80AF-4E66-9150-288E6F61AEDB}" dt="2021-12-09T17:00:29.926" v="4621"/>
        <pc:sldMkLst>
          <pc:docMk/>
          <pc:sldMk cId="2761274342" sldId="2147375759"/>
        </pc:sldMkLst>
      </pc:sldChg>
      <pc:sldChg chg="modSp add mod">
        <pc:chgData name="Robertson, Daniel" userId="4fd6f56b-898f-4008-a6b4-11eaf568a331" providerId="ADAL" clId="{658CE56F-80AF-4E66-9150-288E6F61AEDB}" dt="2021-12-14T15:04:42.331" v="4632" actId="13822"/>
        <pc:sldMkLst>
          <pc:docMk/>
          <pc:sldMk cId="2328877122" sldId="2147375760"/>
        </pc:sldMkLst>
        <pc:spChg chg="mod">
          <ac:chgData name="Robertson, Daniel" userId="4fd6f56b-898f-4008-a6b4-11eaf568a331" providerId="ADAL" clId="{658CE56F-80AF-4E66-9150-288E6F61AEDB}" dt="2021-12-14T15:03:09.581" v="4628" actId="13822"/>
          <ac:spMkLst>
            <pc:docMk/>
            <pc:sldMk cId="2328877122" sldId="2147375760"/>
            <ac:spMk id="4" creationId="{1CAE5921-6199-4E86-B1A2-2EC1879F2314}"/>
          </ac:spMkLst>
        </pc:spChg>
        <pc:spChg chg="mod">
          <ac:chgData name="Robertson, Daniel" userId="4fd6f56b-898f-4008-a6b4-11eaf568a331" providerId="ADAL" clId="{658CE56F-80AF-4E66-9150-288E6F61AEDB}" dt="2021-12-14T15:02:57.308" v="4627" actId="13822"/>
          <ac:spMkLst>
            <pc:docMk/>
            <pc:sldMk cId="2328877122" sldId="2147375760"/>
            <ac:spMk id="5" creationId="{B164B23C-5E42-43F0-ACF8-2E0541A9FBDE}"/>
          </ac:spMkLst>
        </pc:spChg>
        <pc:spChg chg="mod">
          <ac:chgData name="Robertson, Daniel" userId="4fd6f56b-898f-4008-a6b4-11eaf568a331" providerId="ADAL" clId="{658CE56F-80AF-4E66-9150-288E6F61AEDB}" dt="2021-12-14T15:02:57.308" v="4627" actId="13822"/>
          <ac:spMkLst>
            <pc:docMk/>
            <pc:sldMk cId="2328877122" sldId="2147375760"/>
            <ac:spMk id="6" creationId="{902D7E61-7F03-47A9-9CC0-07C9F76AC4C2}"/>
          </ac:spMkLst>
        </pc:spChg>
        <pc:spChg chg="mod">
          <ac:chgData name="Robertson, Daniel" userId="4fd6f56b-898f-4008-a6b4-11eaf568a331" providerId="ADAL" clId="{658CE56F-80AF-4E66-9150-288E6F61AEDB}" dt="2021-12-14T15:02:57.308" v="4627" actId="13822"/>
          <ac:spMkLst>
            <pc:docMk/>
            <pc:sldMk cId="2328877122" sldId="2147375760"/>
            <ac:spMk id="7" creationId="{6B5CD5EC-F226-4811-9F2D-099C4BEC3B80}"/>
          </ac:spMkLst>
        </pc:spChg>
        <pc:spChg chg="mod">
          <ac:chgData name="Robertson, Daniel" userId="4fd6f56b-898f-4008-a6b4-11eaf568a331" providerId="ADAL" clId="{658CE56F-80AF-4E66-9150-288E6F61AEDB}" dt="2021-12-14T15:03:09.581" v="4628" actId="13822"/>
          <ac:spMkLst>
            <pc:docMk/>
            <pc:sldMk cId="2328877122" sldId="2147375760"/>
            <ac:spMk id="10" creationId="{C7B3B3E5-C749-4564-A0F9-2A7CAC31EA01}"/>
          </ac:spMkLst>
        </pc:spChg>
        <pc:spChg chg="mod">
          <ac:chgData name="Robertson, Daniel" userId="4fd6f56b-898f-4008-a6b4-11eaf568a331" providerId="ADAL" clId="{658CE56F-80AF-4E66-9150-288E6F61AEDB}" dt="2021-12-14T15:03:09.581" v="4628" actId="13822"/>
          <ac:spMkLst>
            <pc:docMk/>
            <pc:sldMk cId="2328877122" sldId="2147375760"/>
            <ac:spMk id="11" creationId="{207690AC-6685-480D-BB75-3D2BA25612FC}"/>
          </ac:spMkLst>
        </pc:spChg>
        <pc:spChg chg="mod">
          <ac:chgData name="Robertson, Daniel" userId="4fd6f56b-898f-4008-a6b4-11eaf568a331" providerId="ADAL" clId="{658CE56F-80AF-4E66-9150-288E6F61AEDB}" dt="2021-12-14T15:02:46.303" v="4626" actId="207"/>
          <ac:spMkLst>
            <pc:docMk/>
            <pc:sldMk cId="2328877122" sldId="2147375760"/>
            <ac:spMk id="14" creationId="{E6D8B764-3A18-44E8-A317-6224A52E59AF}"/>
          </ac:spMkLst>
        </pc:spChg>
        <pc:spChg chg="mod">
          <ac:chgData name="Robertson, Daniel" userId="4fd6f56b-898f-4008-a6b4-11eaf568a331" providerId="ADAL" clId="{658CE56F-80AF-4E66-9150-288E6F61AEDB}" dt="2021-12-14T15:04:42.331" v="4632" actId="13822"/>
          <ac:spMkLst>
            <pc:docMk/>
            <pc:sldMk cId="2328877122" sldId="2147375760"/>
            <ac:spMk id="18" creationId="{499FB446-B93D-497B-8C22-85941F833BA1}"/>
          </ac:spMkLst>
        </pc:spChg>
        <pc:spChg chg="mod">
          <ac:chgData name="Robertson, Daniel" userId="4fd6f56b-898f-4008-a6b4-11eaf568a331" providerId="ADAL" clId="{658CE56F-80AF-4E66-9150-288E6F61AEDB}" dt="2021-12-14T15:04:42.331" v="4632" actId="13822"/>
          <ac:spMkLst>
            <pc:docMk/>
            <pc:sldMk cId="2328877122" sldId="2147375760"/>
            <ac:spMk id="19" creationId="{565AA11F-38D9-42E5-B8E7-B9C36DF200E7}"/>
          </ac:spMkLst>
        </pc:spChg>
        <pc:spChg chg="mod">
          <ac:chgData name="Robertson, Daniel" userId="4fd6f56b-898f-4008-a6b4-11eaf568a331" providerId="ADAL" clId="{658CE56F-80AF-4E66-9150-288E6F61AEDB}" dt="2021-12-14T15:03:31.897" v="4629" actId="13822"/>
          <ac:spMkLst>
            <pc:docMk/>
            <pc:sldMk cId="2328877122" sldId="2147375760"/>
            <ac:spMk id="20" creationId="{7E1F844B-5AE9-4B8F-A14D-D7216BCDE188}"/>
          </ac:spMkLst>
        </pc:spChg>
        <pc:spChg chg="mod">
          <ac:chgData name="Robertson, Daniel" userId="4fd6f56b-898f-4008-a6b4-11eaf568a331" providerId="ADAL" clId="{658CE56F-80AF-4E66-9150-288E6F61AEDB}" dt="2021-12-14T15:03:31.897" v="4629" actId="13822"/>
          <ac:spMkLst>
            <pc:docMk/>
            <pc:sldMk cId="2328877122" sldId="2147375760"/>
            <ac:spMk id="21" creationId="{2035B70E-6356-449C-8DD4-8D4E4519105A}"/>
          </ac:spMkLst>
        </pc:spChg>
        <pc:spChg chg="mod">
          <ac:chgData name="Robertson, Daniel" userId="4fd6f56b-898f-4008-a6b4-11eaf568a331" providerId="ADAL" clId="{658CE56F-80AF-4E66-9150-288E6F61AEDB}" dt="2021-12-14T15:03:31.897" v="4629" actId="13822"/>
          <ac:spMkLst>
            <pc:docMk/>
            <pc:sldMk cId="2328877122" sldId="2147375760"/>
            <ac:spMk id="22" creationId="{3265E545-C058-44F8-ACC0-3C706ACE7BF5}"/>
          </ac:spMkLst>
        </pc:spChg>
        <pc:spChg chg="mod">
          <ac:chgData name="Robertson, Daniel" userId="4fd6f56b-898f-4008-a6b4-11eaf568a331" providerId="ADAL" clId="{658CE56F-80AF-4E66-9150-288E6F61AEDB}" dt="2021-12-14T15:04:28.916" v="4631" actId="13822"/>
          <ac:spMkLst>
            <pc:docMk/>
            <pc:sldMk cId="2328877122" sldId="2147375760"/>
            <ac:spMk id="23" creationId="{DF517FBE-1CF4-4A19-B68A-4AFCFF90372B}"/>
          </ac:spMkLst>
        </pc:spChg>
        <pc:spChg chg="mod">
          <ac:chgData name="Robertson, Daniel" userId="4fd6f56b-898f-4008-a6b4-11eaf568a331" providerId="ADAL" clId="{658CE56F-80AF-4E66-9150-288E6F61AEDB}" dt="2021-12-14T15:04:28.916" v="4631" actId="13822"/>
          <ac:spMkLst>
            <pc:docMk/>
            <pc:sldMk cId="2328877122" sldId="2147375760"/>
            <ac:spMk id="24" creationId="{779AA9FF-AF42-4622-AACB-DF8B49C78CDA}"/>
          </ac:spMkLst>
        </pc:spChg>
        <pc:spChg chg="mod">
          <ac:chgData name="Robertson, Daniel" userId="4fd6f56b-898f-4008-a6b4-11eaf568a331" providerId="ADAL" clId="{658CE56F-80AF-4E66-9150-288E6F61AEDB}" dt="2021-12-14T15:03:47.567" v="4630" actId="13822"/>
          <ac:spMkLst>
            <pc:docMk/>
            <pc:sldMk cId="2328877122" sldId="2147375760"/>
            <ac:spMk id="25" creationId="{C27C24CB-F1FA-46DF-9D08-934A708AF71B}"/>
          </ac:spMkLst>
        </pc:spChg>
        <pc:spChg chg="mod">
          <ac:chgData name="Robertson, Daniel" userId="4fd6f56b-898f-4008-a6b4-11eaf568a331" providerId="ADAL" clId="{658CE56F-80AF-4E66-9150-288E6F61AEDB}" dt="2021-12-14T15:03:47.567" v="4630" actId="13822"/>
          <ac:spMkLst>
            <pc:docMk/>
            <pc:sldMk cId="2328877122" sldId="2147375760"/>
            <ac:spMk id="26" creationId="{88B3B405-77CF-427B-B5DA-41E9FDA697D7}"/>
          </ac:spMkLst>
        </pc:spChg>
        <pc:spChg chg="mod">
          <ac:chgData name="Robertson, Daniel" userId="4fd6f56b-898f-4008-a6b4-11eaf568a331" providerId="ADAL" clId="{658CE56F-80AF-4E66-9150-288E6F61AEDB}" dt="2021-12-14T15:02:41.357" v="4625" actId="207"/>
          <ac:spMkLst>
            <pc:docMk/>
            <pc:sldMk cId="2328877122" sldId="2147375760"/>
            <ac:spMk id="27" creationId="{76073F48-41B4-41B4-8CD3-A848490FA1E5}"/>
          </ac:spMkLst>
        </pc:spChg>
      </pc:sldChg>
      <pc:sldChg chg="add">
        <pc:chgData name="Robertson, Daniel" userId="4fd6f56b-898f-4008-a6b4-11eaf568a331" providerId="ADAL" clId="{658CE56F-80AF-4E66-9150-288E6F61AEDB}" dt="2021-12-09T17:00:29.926" v="4621"/>
        <pc:sldMkLst>
          <pc:docMk/>
          <pc:sldMk cId="3370367089" sldId="2147375761"/>
        </pc:sldMkLst>
      </pc:sldChg>
      <pc:sldMasterChg chg="delSldLayout">
        <pc:chgData name="Robertson, Daniel" userId="4fd6f56b-898f-4008-a6b4-11eaf568a331" providerId="ADAL" clId="{658CE56F-80AF-4E66-9150-288E6F61AEDB}" dt="2021-12-09T17:00:37.086" v="4622" actId="47"/>
        <pc:sldMasterMkLst>
          <pc:docMk/>
          <pc:sldMasterMk cId="860845508" sldId="2147483834"/>
        </pc:sldMasterMkLst>
        <pc:sldLayoutChg chg="del">
          <pc:chgData name="Robertson, Daniel" userId="4fd6f56b-898f-4008-a6b4-11eaf568a331" providerId="ADAL" clId="{658CE56F-80AF-4E66-9150-288E6F61AEDB}" dt="2021-12-09T17:00:37.086" v="4622" actId="47"/>
          <pc:sldLayoutMkLst>
            <pc:docMk/>
            <pc:sldMasterMk cId="860845508" sldId="2147483834"/>
            <pc:sldLayoutMk cId="1142196062" sldId="2147483852"/>
          </pc:sldLayoutMkLst>
        </pc:sldLayoutChg>
      </pc:sldMasterChg>
      <pc:sldMasterChg chg="delSldLayout">
        <pc:chgData name="Robertson, Daniel" userId="4fd6f56b-898f-4008-a6b4-11eaf568a331" providerId="ADAL" clId="{658CE56F-80AF-4E66-9150-288E6F61AEDB}" dt="2021-12-09T17:00:37.086" v="4622" actId="47"/>
        <pc:sldMasterMkLst>
          <pc:docMk/>
          <pc:sldMasterMk cId="2379344765" sldId="2147483853"/>
        </pc:sldMasterMkLst>
        <pc:sldLayoutChg chg="del">
          <pc:chgData name="Robertson, Daniel" userId="4fd6f56b-898f-4008-a6b4-11eaf568a331" providerId="ADAL" clId="{658CE56F-80AF-4E66-9150-288E6F61AEDB}" dt="2021-12-09T17:00:37.086" v="4622" actId="47"/>
          <pc:sldLayoutMkLst>
            <pc:docMk/>
            <pc:sldMasterMk cId="2379344765" sldId="2147483853"/>
            <pc:sldLayoutMk cId="3000294093" sldId="214748386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0B6EE0-5C91-448C-8806-3A816D2D60E2}"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GB"/>
        </a:p>
      </dgm:t>
    </dgm:pt>
    <dgm:pt modelId="{0E0461FE-B213-439A-A8F6-5EA8CBED8AA8}">
      <dgm:prSet phldrT="[Text]"/>
      <dgm:spPr/>
      <dgm:t>
        <a:bodyPr/>
        <a:lstStyle/>
        <a:p>
          <a:r>
            <a:rPr lang="en-GB" dirty="0"/>
            <a:t>Head of Data &amp; Analytics</a:t>
          </a:r>
        </a:p>
      </dgm:t>
    </dgm:pt>
    <dgm:pt modelId="{4957B04C-10AD-44E0-95CD-533FC48FE27A}" type="parTrans" cxnId="{3CE5D0E1-39A7-478C-B701-78B6256ABB3B}">
      <dgm:prSet/>
      <dgm:spPr/>
      <dgm:t>
        <a:bodyPr/>
        <a:lstStyle/>
        <a:p>
          <a:endParaRPr lang="en-GB"/>
        </a:p>
      </dgm:t>
    </dgm:pt>
    <dgm:pt modelId="{B6543814-E3A3-4127-B529-24DECDCCEBCE}" type="sibTrans" cxnId="{3CE5D0E1-39A7-478C-B701-78B6256ABB3B}">
      <dgm:prSet/>
      <dgm:spPr/>
      <dgm:t>
        <a:bodyPr/>
        <a:lstStyle/>
        <a:p>
          <a:endParaRPr lang="en-GB"/>
        </a:p>
      </dgm:t>
    </dgm:pt>
    <dgm:pt modelId="{53CAA7A5-2007-4326-B18F-C84FC7C1E359}">
      <dgm:prSet phldrT="[Text]"/>
      <dgm:spPr/>
      <dgm:t>
        <a:bodyPr/>
        <a:lstStyle/>
        <a:p>
          <a:r>
            <a:rPr lang="en-GB" dirty="0"/>
            <a:t>Enterprise Data &amp; Analytics Architecture</a:t>
          </a:r>
        </a:p>
      </dgm:t>
    </dgm:pt>
    <dgm:pt modelId="{92208DC0-B017-4F76-8BE1-872295BF5D2D}" type="parTrans" cxnId="{DA03B357-FEDC-4C95-A6D6-2D6FBEF893F3}">
      <dgm:prSet/>
      <dgm:spPr/>
      <dgm:t>
        <a:bodyPr/>
        <a:lstStyle/>
        <a:p>
          <a:endParaRPr lang="en-GB"/>
        </a:p>
      </dgm:t>
    </dgm:pt>
    <dgm:pt modelId="{681C5818-105A-40B2-AF52-1035D66482A6}" type="sibTrans" cxnId="{DA03B357-FEDC-4C95-A6D6-2D6FBEF893F3}">
      <dgm:prSet/>
      <dgm:spPr/>
      <dgm:t>
        <a:bodyPr/>
        <a:lstStyle/>
        <a:p>
          <a:endParaRPr lang="en-GB"/>
        </a:p>
      </dgm:t>
    </dgm:pt>
    <dgm:pt modelId="{12652234-A6AA-429F-BC72-EA22A98D6436}">
      <dgm:prSet phldrT="[Text]"/>
      <dgm:spPr/>
      <dgm:t>
        <a:bodyPr/>
        <a:lstStyle/>
        <a:p>
          <a:r>
            <a:rPr lang="en-GB" dirty="0"/>
            <a:t>Data Governance</a:t>
          </a:r>
        </a:p>
      </dgm:t>
    </dgm:pt>
    <dgm:pt modelId="{3930B39F-F447-482C-9949-BE2679CE5CA9}" type="parTrans" cxnId="{767B9F8D-9A0E-4F7A-957A-2802705C4495}">
      <dgm:prSet/>
      <dgm:spPr/>
      <dgm:t>
        <a:bodyPr/>
        <a:lstStyle/>
        <a:p>
          <a:endParaRPr lang="en-GB"/>
        </a:p>
      </dgm:t>
    </dgm:pt>
    <dgm:pt modelId="{AB4C1C55-9AF5-4CD2-B726-4EA13EA29173}" type="sibTrans" cxnId="{767B9F8D-9A0E-4F7A-957A-2802705C4495}">
      <dgm:prSet/>
      <dgm:spPr/>
      <dgm:t>
        <a:bodyPr/>
        <a:lstStyle/>
        <a:p>
          <a:endParaRPr lang="en-GB"/>
        </a:p>
      </dgm:t>
    </dgm:pt>
    <dgm:pt modelId="{718A61C3-FF90-4EE4-88F3-6019B200292E}">
      <dgm:prSet phldrT="[Text]"/>
      <dgm:spPr/>
      <dgm:t>
        <a:bodyPr/>
        <a:lstStyle/>
        <a:p>
          <a:r>
            <a:rPr lang="en-GB" dirty="0"/>
            <a:t>Data Strategy</a:t>
          </a:r>
        </a:p>
      </dgm:t>
    </dgm:pt>
    <dgm:pt modelId="{4881B3DF-F418-4A4A-B6D4-3205F7F7A7A4}" type="parTrans" cxnId="{5C2065C0-1FA2-4C80-A004-B33FCD6635DF}">
      <dgm:prSet/>
      <dgm:spPr/>
      <dgm:t>
        <a:bodyPr/>
        <a:lstStyle/>
        <a:p>
          <a:endParaRPr lang="en-GB"/>
        </a:p>
      </dgm:t>
    </dgm:pt>
    <dgm:pt modelId="{3DD93698-75CB-4CB8-8AA9-06E583F8392C}" type="sibTrans" cxnId="{5C2065C0-1FA2-4C80-A004-B33FCD6635DF}">
      <dgm:prSet/>
      <dgm:spPr/>
      <dgm:t>
        <a:bodyPr/>
        <a:lstStyle/>
        <a:p>
          <a:endParaRPr lang="en-GB"/>
        </a:p>
      </dgm:t>
    </dgm:pt>
    <dgm:pt modelId="{6FA28E2A-5767-4192-BCBF-3827DC26C7C4}">
      <dgm:prSet phldrT="[Text]"/>
      <dgm:spPr>
        <a:solidFill>
          <a:schemeClr val="accent1">
            <a:lumMod val="25000"/>
            <a:lumOff val="75000"/>
          </a:schemeClr>
        </a:solidFill>
      </dgm:spPr>
      <dgm:t>
        <a:bodyPr/>
        <a:lstStyle/>
        <a:p>
          <a:r>
            <a:rPr lang="en-GB" dirty="0"/>
            <a:t>Data Platforms &amp; Engineering</a:t>
          </a:r>
        </a:p>
      </dgm:t>
    </dgm:pt>
    <dgm:pt modelId="{43CFD32B-7B9A-48BF-B5AC-D816CD2F952C}" type="parTrans" cxnId="{C4B7381C-7224-4335-B776-03BCECDE912E}">
      <dgm:prSet>
        <dgm:style>
          <a:lnRef idx="0">
            <a:scrgbClr r="0" g="0" b="0"/>
          </a:lnRef>
          <a:fillRef idx="0">
            <a:scrgbClr r="0" g="0" b="0"/>
          </a:fillRef>
          <a:effectRef idx="0">
            <a:scrgbClr r="0" g="0" b="0"/>
          </a:effectRef>
          <a:fontRef idx="minor">
            <a:schemeClr val="tx1"/>
          </a:fontRef>
        </dgm:style>
      </dgm:prSet>
      <dgm:spPr>
        <a:ln w="9525" cap="flat" cmpd="sng" algn="ctr">
          <a:solidFill>
            <a:schemeClr val="accent1"/>
          </a:solidFill>
          <a:prstDash val="dash"/>
          <a:round/>
          <a:headEnd type="none" w="med" len="med"/>
          <a:tailEnd type="none" w="med" len="med"/>
        </a:ln>
      </dgm:spPr>
      <dgm:t>
        <a:bodyPr/>
        <a:lstStyle/>
        <a:p>
          <a:endParaRPr lang="en-GB"/>
        </a:p>
      </dgm:t>
    </dgm:pt>
    <dgm:pt modelId="{F13C31B9-94A2-409B-A5A1-E9595302EE2F}" type="sibTrans" cxnId="{C4B7381C-7224-4335-B776-03BCECDE912E}">
      <dgm:prSet/>
      <dgm:spPr/>
      <dgm:t>
        <a:bodyPr/>
        <a:lstStyle/>
        <a:p>
          <a:endParaRPr lang="en-GB"/>
        </a:p>
      </dgm:t>
    </dgm:pt>
    <dgm:pt modelId="{828CA9AC-D73D-41C4-B164-C63C77EFEB91}" type="pres">
      <dgm:prSet presAssocID="{DF0B6EE0-5C91-448C-8806-3A816D2D60E2}" presName="hierChild1" presStyleCnt="0">
        <dgm:presLayoutVars>
          <dgm:orgChart val="1"/>
          <dgm:chPref val="1"/>
          <dgm:dir/>
          <dgm:animOne val="branch"/>
          <dgm:animLvl val="lvl"/>
          <dgm:resizeHandles/>
        </dgm:presLayoutVars>
      </dgm:prSet>
      <dgm:spPr/>
    </dgm:pt>
    <dgm:pt modelId="{C6069856-CB3A-4537-8E55-5575328BFDFB}" type="pres">
      <dgm:prSet presAssocID="{0E0461FE-B213-439A-A8F6-5EA8CBED8AA8}" presName="hierRoot1" presStyleCnt="0">
        <dgm:presLayoutVars>
          <dgm:hierBranch val="init"/>
        </dgm:presLayoutVars>
      </dgm:prSet>
      <dgm:spPr/>
    </dgm:pt>
    <dgm:pt modelId="{67D27369-CD26-49B6-AD2D-4495BD417800}" type="pres">
      <dgm:prSet presAssocID="{0E0461FE-B213-439A-A8F6-5EA8CBED8AA8}" presName="rootComposite1" presStyleCnt="0"/>
      <dgm:spPr/>
    </dgm:pt>
    <dgm:pt modelId="{79F12B95-A82C-4022-A83C-0371AE9D7885}" type="pres">
      <dgm:prSet presAssocID="{0E0461FE-B213-439A-A8F6-5EA8CBED8AA8}" presName="rootText1" presStyleLbl="node0" presStyleIdx="0" presStyleCnt="1" custLinFactNeighborY="1968">
        <dgm:presLayoutVars>
          <dgm:chPref val="3"/>
        </dgm:presLayoutVars>
      </dgm:prSet>
      <dgm:spPr/>
    </dgm:pt>
    <dgm:pt modelId="{75C2A5C2-2ED1-491D-A38B-A63E67B60034}" type="pres">
      <dgm:prSet presAssocID="{0E0461FE-B213-439A-A8F6-5EA8CBED8AA8}" presName="rootConnector1" presStyleLbl="node1" presStyleIdx="0" presStyleCnt="0"/>
      <dgm:spPr/>
    </dgm:pt>
    <dgm:pt modelId="{DEAE28F2-8C4C-4FE9-8DBD-7C4AEF1EB0A0}" type="pres">
      <dgm:prSet presAssocID="{0E0461FE-B213-439A-A8F6-5EA8CBED8AA8}" presName="hierChild2" presStyleCnt="0"/>
      <dgm:spPr/>
    </dgm:pt>
    <dgm:pt modelId="{0595E253-C60F-4F5B-9BA8-FFFB14D58579}" type="pres">
      <dgm:prSet presAssocID="{92208DC0-B017-4F76-8BE1-872295BF5D2D}" presName="Name37" presStyleLbl="parChTrans1D2" presStyleIdx="0" presStyleCnt="4"/>
      <dgm:spPr/>
    </dgm:pt>
    <dgm:pt modelId="{37F13889-1ED7-493D-9CEC-C5E6F5D0D522}" type="pres">
      <dgm:prSet presAssocID="{53CAA7A5-2007-4326-B18F-C84FC7C1E359}" presName="hierRoot2" presStyleCnt="0">
        <dgm:presLayoutVars>
          <dgm:hierBranch val="init"/>
        </dgm:presLayoutVars>
      </dgm:prSet>
      <dgm:spPr/>
    </dgm:pt>
    <dgm:pt modelId="{F20D59F9-DFD8-4EC3-A62E-8D6104F49463}" type="pres">
      <dgm:prSet presAssocID="{53CAA7A5-2007-4326-B18F-C84FC7C1E359}" presName="rootComposite" presStyleCnt="0"/>
      <dgm:spPr/>
    </dgm:pt>
    <dgm:pt modelId="{576B6BF8-4194-4834-BD82-49BC69FFAF7C}" type="pres">
      <dgm:prSet presAssocID="{53CAA7A5-2007-4326-B18F-C84FC7C1E359}" presName="rootText" presStyleLbl="node2" presStyleIdx="0" presStyleCnt="4">
        <dgm:presLayoutVars>
          <dgm:chPref val="3"/>
        </dgm:presLayoutVars>
      </dgm:prSet>
      <dgm:spPr/>
    </dgm:pt>
    <dgm:pt modelId="{1DBB9188-77BC-488D-8B0D-B661E29079ED}" type="pres">
      <dgm:prSet presAssocID="{53CAA7A5-2007-4326-B18F-C84FC7C1E359}" presName="rootConnector" presStyleLbl="node2" presStyleIdx="0" presStyleCnt="4"/>
      <dgm:spPr/>
    </dgm:pt>
    <dgm:pt modelId="{F955B476-CED6-48E2-BE25-DBE56FAE79C3}" type="pres">
      <dgm:prSet presAssocID="{53CAA7A5-2007-4326-B18F-C84FC7C1E359}" presName="hierChild4" presStyleCnt="0"/>
      <dgm:spPr/>
    </dgm:pt>
    <dgm:pt modelId="{5165E49D-650D-416A-BDA9-F60BB42C2A70}" type="pres">
      <dgm:prSet presAssocID="{53CAA7A5-2007-4326-B18F-C84FC7C1E359}" presName="hierChild5" presStyleCnt="0"/>
      <dgm:spPr/>
    </dgm:pt>
    <dgm:pt modelId="{EA17A83F-69EE-4EA1-A117-7F53F0A285D4}" type="pres">
      <dgm:prSet presAssocID="{3930B39F-F447-482C-9949-BE2679CE5CA9}" presName="Name37" presStyleLbl="parChTrans1D2" presStyleIdx="1" presStyleCnt="4"/>
      <dgm:spPr/>
    </dgm:pt>
    <dgm:pt modelId="{BC458DEB-4D7D-435E-80BE-340F386EF0AA}" type="pres">
      <dgm:prSet presAssocID="{12652234-A6AA-429F-BC72-EA22A98D6436}" presName="hierRoot2" presStyleCnt="0">
        <dgm:presLayoutVars>
          <dgm:hierBranch val="init"/>
        </dgm:presLayoutVars>
      </dgm:prSet>
      <dgm:spPr/>
    </dgm:pt>
    <dgm:pt modelId="{B9718FF5-FDA9-442E-B19A-140B93E2D905}" type="pres">
      <dgm:prSet presAssocID="{12652234-A6AA-429F-BC72-EA22A98D6436}" presName="rootComposite" presStyleCnt="0"/>
      <dgm:spPr/>
    </dgm:pt>
    <dgm:pt modelId="{CDF92262-02CD-4E60-87CE-843348AE03A7}" type="pres">
      <dgm:prSet presAssocID="{12652234-A6AA-429F-BC72-EA22A98D6436}" presName="rootText" presStyleLbl="node2" presStyleIdx="1" presStyleCnt="4">
        <dgm:presLayoutVars>
          <dgm:chPref val="3"/>
        </dgm:presLayoutVars>
      </dgm:prSet>
      <dgm:spPr/>
    </dgm:pt>
    <dgm:pt modelId="{9C5323C1-0888-4F11-88C3-A4627A3B78EC}" type="pres">
      <dgm:prSet presAssocID="{12652234-A6AA-429F-BC72-EA22A98D6436}" presName="rootConnector" presStyleLbl="node2" presStyleIdx="1" presStyleCnt="4"/>
      <dgm:spPr/>
    </dgm:pt>
    <dgm:pt modelId="{0A45214E-E206-412B-8044-C20D95601DDB}" type="pres">
      <dgm:prSet presAssocID="{12652234-A6AA-429F-BC72-EA22A98D6436}" presName="hierChild4" presStyleCnt="0"/>
      <dgm:spPr/>
    </dgm:pt>
    <dgm:pt modelId="{5C29C063-199A-4EC7-BD13-2D8BD1754B8B}" type="pres">
      <dgm:prSet presAssocID="{12652234-A6AA-429F-BC72-EA22A98D6436}" presName="hierChild5" presStyleCnt="0"/>
      <dgm:spPr/>
    </dgm:pt>
    <dgm:pt modelId="{65E0FDA0-F8BC-47D5-BED3-9E17F66E1650}" type="pres">
      <dgm:prSet presAssocID="{4881B3DF-F418-4A4A-B6D4-3205F7F7A7A4}" presName="Name37" presStyleLbl="parChTrans1D2" presStyleIdx="2" presStyleCnt="4"/>
      <dgm:spPr/>
    </dgm:pt>
    <dgm:pt modelId="{3905E8C5-D22F-45B3-894D-B46DB3997060}" type="pres">
      <dgm:prSet presAssocID="{718A61C3-FF90-4EE4-88F3-6019B200292E}" presName="hierRoot2" presStyleCnt="0">
        <dgm:presLayoutVars>
          <dgm:hierBranch val="init"/>
        </dgm:presLayoutVars>
      </dgm:prSet>
      <dgm:spPr/>
    </dgm:pt>
    <dgm:pt modelId="{9ADA4B8F-029E-4918-8F55-109C42FA96D8}" type="pres">
      <dgm:prSet presAssocID="{718A61C3-FF90-4EE4-88F3-6019B200292E}" presName="rootComposite" presStyleCnt="0"/>
      <dgm:spPr/>
    </dgm:pt>
    <dgm:pt modelId="{F7A8272A-535A-4EE5-9330-6963C784FBDD}" type="pres">
      <dgm:prSet presAssocID="{718A61C3-FF90-4EE4-88F3-6019B200292E}" presName="rootText" presStyleLbl="node2" presStyleIdx="2" presStyleCnt="4">
        <dgm:presLayoutVars>
          <dgm:chPref val="3"/>
        </dgm:presLayoutVars>
      </dgm:prSet>
      <dgm:spPr/>
    </dgm:pt>
    <dgm:pt modelId="{C13E6572-83E9-4B54-A9D1-510B7AE7891B}" type="pres">
      <dgm:prSet presAssocID="{718A61C3-FF90-4EE4-88F3-6019B200292E}" presName="rootConnector" presStyleLbl="node2" presStyleIdx="2" presStyleCnt="4"/>
      <dgm:spPr/>
    </dgm:pt>
    <dgm:pt modelId="{31D96956-0007-47A6-8763-B7D8F6CF1A3D}" type="pres">
      <dgm:prSet presAssocID="{718A61C3-FF90-4EE4-88F3-6019B200292E}" presName="hierChild4" presStyleCnt="0"/>
      <dgm:spPr/>
    </dgm:pt>
    <dgm:pt modelId="{4DDB5A33-835E-406C-92BA-58CB08E9F6B4}" type="pres">
      <dgm:prSet presAssocID="{718A61C3-FF90-4EE4-88F3-6019B200292E}" presName="hierChild5" presStyleCnt="0"/>
      <dgm:spPr/>
    </dgm:pt>
    <dgm:pt modelId="{3D2CAB03-86DB-430F-93D9-CDF32A864A3E}" type="pres">
      <dgm:prSet presAssocID="{43CFD32B-7B9A-48BF-B5AC-D816CD2F952C}" presName="Name37" presStyleLbl="parChTrans1D2" presStyleIdx="3" presStyleCnt="4"/>
      <dgm:spPr/>
    </dgm:pt>
    <dgm:pt modelId="{8E48CD15-D8B4-48AB-82BA-BC685868BA12}" type="pres">
      <dgm:prSet presAssocID="{6FA28E2A-5767-4192-BCBF-3827DC26C7C4}" presName="hierRoot2" presStyleCnt="0">
        <dgm:presLayoutVars>
          <dgm:hierBranch val="init"/>
        </dgm:presLayoutVars>
      </dgm:prSet>
      <dgm:spPr/>
    </dgm:pt>
    <dgm:pt modelId="{5C2A49C5-C291-4485-944F-8C7F9BC700F1}" type="pres">
      <dgm:prSet presAssocID="{6FA28E2A-5767-4192-BCBF-3827DC26C7C4}" presName="rootComposite" presStyleCnt="0"/>
      <dgm:spPr/>
    </dgm:pt>
    <dgm:pt modelId="{EFA20FC2-1687-4859-A9A7-464518256A28}" type="pres">
      <dgm:prSet presAssocID="{6FA28E2A-5767-4192-BCBF-3827DC26C7C4}" presName="rootText" presStyleLbl="node2" presStyleIdx="3" presStyleCnt="4">
        <dgm:presLayoutVars>
          <dgm:chPref val="3"/>
        </dgm:presLayoutVars>
      </dgm:prSet>
      <dgm:spPr/>
    </dgm:pt>
    <dgm:pt modelId="{0381CC04-1B69-4BEA-82BB-DBFE9124DFB4}" type="pres">
      <dgm:prSet presAssocID="{6FA28E2A-5767-4192-BCBF-3827DC26C7C4}" presName="rootConnector" presStyleLbl="node2" presStyleIdx="3" presStyleCnt="4"/>
      <dgm:spPr/>
    </dgm:pt>
    <dgm:pt modelId="{A1729B18-2D39-4D21-9A97-DC2FC7558320}" type="pres">
      <dgm:prSet presAssocID="{6FA28E2A-5767-4192-BCBF-3827DC26C7C4}" presName="hierChild4" presStyleCnt="0"/>
      <dgm:spPr/>
    </dgm:pt>
    <dgm:pt modelId="{75A3BA65-4327-498E-A775-5F3FB713D10F}" type="pres">
      <dgm:prSet presAssocID="{6FA28E2A-5767-4192-BCBF-3827DC26C7C4}" presName="hierChild5" presStyleCnt="0"/>
      <dgm:spPr/>
    </dgm:pt>
    <dgm:pt modelId="{460B28DC-0CF7-4651-8E3E-C4365CD26C26}" type="pres">
      <dgm:prSet presAssocID="{0E0461FE-B213-439A-A8F6-5EA8CBED8AA8}" presName="hierChild3" presStyleCnt="0"/>
      <dgm:spPr/>
    </dgm:pt>
  </dgm:ptLst>
  <dgm:cxnLst>
    <dgm:cxn modelId="{E5FE9900-03D5-4021-A820-211771F97AE2}" type="presOf" srcId="{0E0461FE-B213-439A-A8F6-5EA8CBED8AA8}" destId="{75C2A5C2-2ED1-491D-A38B-A63E67B60034}" srcOrd="1" destOrd="0" presId="urn:microsoft.com/office/officeart/2005/8/layout/orgChart1"/>
    <dgm:cxn modelId="{CE610813-38C0-4DEF-BF2D-5F5D094FC34E}" type="presOf" srcId="{0E0461FE-B213-439A-A8F6-5EA8CBED8AA8}" destId="{79F12B95-A82C-4022-A83C-0371AE9D7885}" srcOrd="0" destOrd="0" presId="urn:microsoft.com/office/officeart/2005/8/layout/orgChart1"/>
    <dgm:cxn modelId="{C4B7381C-7224-4335-B776-03BCECDE912E}" srcId="{0E0461FE-B213-439A-A8F6-5EA8CBED8AA8}" destId="{6FA28E2A-5767-4192-BCBF-3827DC26C7C4}" srcOrd="3" destOrd="0" parTransId="{43CFD32B-7B9A-48BF-B5AC-D816CD2F952C}" sibTransId="{F13C31B9-94A2-409B-A5A1-E9595302EE2F}"/>
    <dgm:cxn modelId="{29BDA323-CB10-440D-AC4D-35B685655EA7}" type="presOf" srcId="{53CAA7A5-2007-4326-B18F-C84FC7C1E359}" destId="{576B6BF8-4194-4834-BD82-49BC69FFAF7C}" srcOrd="0" destOrd="0" presId="urn:microsoft.com/office/officeart/2005/8/layout/orgChart1"/>
    <dgm:cxn modelId="{984C8626-A1BC-49D7-91D6-DA82121F7582}" type="presOf" srcId="{718A61C3-FF90-4EE4-88F3-6019B200292E}" destId="{F7A8272A-535A-4EE5-9330-6963C784FBDD}" srcOrd="0" destOrd="0" presId="urn:microsoft.com/office/officeart/2005/8/layout/orgChart1"/>
    <dgm:cxn modelId="{F8E1DC3E-EF17-4972-9E2A-9A99F5640DD1}" type="presOf" srcId="{6FA28E2A-5767-4192-BCBF-3827DC26C7C4}" destId="{0381CC04-1B69-4BEA-82BB-DBFE9124DFB4}" srcOrd="1" destOrd="0" presId="urn:microsoft.com/office/officeart/2005/8/layout/orgChart1"/>
    <dgm:cxn modelId="{FD692D5B-E608-44A4-83E6-6DD06FCA7C41}" type="presOf" srcId="{12652234-A6AA-429F-BC72-EA22A98D6436}" destId="{9C5323C1-0888-4F11-88C3-A4627A3B78EC}" srcOrd="1" destOrd="0" presId="urn:microsoft.com/office/officeart/2005/8/layout/orgChart1"/>
    <dgm:cxn modelId="{060F9770-3E79-40D3-89ED-EE86FDEBF72B}" type="presOf" srcId="{43CFD32B-7B9A-48BF-B5AC-D816CD2F952C}" destId="{3D2CAB03-86DB-430F-93D9-CDF32A864A3E}" srcOrd="0" destOrd="0" presId="urn:microsoft.com/office/officeart/2005/8/layout/orgChart1"/>
    <dgm:cxn modelId="{DA03B357-FEDC-4C95-A6D6-2D6FBEF893F3}" srcId="{0E0461FE-B213-439A-A8F6-5EA8CBED8AA8}" destId="{53CAA7A5-2007-4326-B18F-C84FC7C1E359}" srcOrd="0" destOrd="0" parTransId="{92208DC0-B017-4F76-8BE1-872295BF5D2D}" sibTransId="{681C5818-105A-40B2-AF52-1035D66482A6}"/>
    <dgm:cxn modelId="{195C2079-F831-4EFF-BED2-6570040B22C0}" type="presOf" srcId="{6FA28E2A-5767-4192-BCBF-3827DC26C7C4}" destId="{EFA20FC2-1687-4859-A9A7-464518256A28}" srcOrd="0" destOrd="0" presId="urn:microsoft.com/office/officeart/2005/8/layout/orgChart1"/>
    <dgm:cxn modelId="{91AA667B-EA82-491F-B047-6C579E3C53A0}" type="presOf" srcId="{718A61C3-FF90-4EE4-88F3-6019B200292E}" destId="{C13E6572-83E9-4B54-A9D1-510B7AE7891B}" srcOrd="1" destOrd="0" presId="urn:microsoft.com/office/officeart/2005/8/layout/orgChart1"/>
    <dgm:cxn modelId="{4A279F89-570D-4142-AEF4-3045CF21945E}" type="presOf" srcId="{92208DC0-B017-4F76-8BE1-872295BF5D2D}" destId="{0595E253-C60F-4F5B-9BA8-FFFB14D58579}" srcOrd="0" destOrd="0" presId="urn:microsoft.com/office/officeart/2005/8/layout/orgChart1"/>
    <dgm:cxn modelId="{767B9F8D-9A0E-4F7A-957A-2802705C4495}" srcId="{0E0461FE-B213-439A-A8F6-5EA8CBED8AA8}" destId="{12652234-A6AA-429F-BC72-EA22A98D6436}" srcOrd="1" destOrd="0" parTransId="{3930B39F-F447-482C-9949-BE2679CE5CA9}" sibTransId="{AB4C1C55-9AF5-4CD2-B726-4EA13EA29173}"/>
    <dgm:cxn modelId="{5C2065C0-1FA2-4C80-A004-B33FCD6635DF}" srcId="{0E0461FE-B213-439A-A8F6-5EA8CBED8AA8}" destId="{718A61C3-FF90-4EE4-88F3-6019B200292E}" srcOrd="2" destOrd="0" parTransId="{4881B3DF-F418-4A4A-B6D4-3205F7F7A7A4}" sibTransId="{3DD93698-75CB-4CB8-8AA9-06E583F8392C}"/>
    <dgm:cxn modelId="{AE3774C3-6BEB-4965-8900-E9E794C49E68}" type="presOf" srcId="{53CAA7A5-2007-4326-B18F-C84FC7C1E359}" destId="{1DBB9188-77BC-488D-8B0D-B661E29079ED}" srcOrd="1" destOrd="0" presId="urn:microsoft.com/office/officeart/2005/8/layout/orgChart1"/>
    <dgm:cxn modelId="{EC5841D2-8CD9-42FC-AF11-26B48D6016F1}" type="presOf" srcId="{4881B3DF-F418-4A4A-B6D4-3205F7F7A7A4}" destId="{65E0FDA0-F8BC-47D5-BED3-9E17F66E1650}" srcOrd="0" destOrd="0" presId="urn:microsoft.com/office/officeart/2005/8/layout/orgChart1"/>
    <dgm:cxn modelId="{3CE5D0E1-39A7-478C-B701-78B6256ABB3B}" srcId="{DF0B6EE0-5C91-448C-8806-3A816D2D60E2}" destId="{0E0461FE-B213-439A-A8F6-5EA8CBED8AA8}" srcOrd="0" destOrd="0" parTransId="{4957B04C-10AD-44E0-95CD-533FC48FE27A}" sibTransId="{B6543814-E3A3-4127-B529-24DECDCCEBCE}"/>
    <dgm:cxn modelId="{5B0178E6-4579-4CD7-A2CD-7E9B27EDCEE9}" type="presOf" srcId="{DF0B6EE0-5C91-448C-8806-3A816D2D60E2}" destId="{828CA9AC-D73D-41C4-B164-C63C77EFEB91}" srcOrd="0" destOrd="0" presId="urn:microsoft.com/office/officeart/2005/8/layout/orgChart1"/>
    <dgm:cxn modelId="{BD5F5EED-37C5-4C7D-8607-52C51D1B4022}" type="presOf" srcId="{12652234-A6AA-429F-BC72-EA22A98D6436}" destId="{CDF92262-02CD-4E60-87CE-843348AE03A7}" srcOrd="0" destOrd="0" presId="urn:microsoft.com/office/officeart/2005/8/layout/orgChart1"/>
    <dgm:cxn modelId="{F4931CEF-0834-4CB4-AE5B-4E305AE42AFE}" type="presOf" srcId="{3930B39F-F447-482C-9949-BE2679CE5CA9}" destId="{EA17A83F-69EE-4EA1-A117-7F53F0A285D4}" srcOrd="0" destOrd="0" presId="urn:microsoft.com/office/officeart/2005/8/layout/orgChart1"/>
    <dgm:cxn modelId="{2218B481-652C-4ECE-A46D-6D12093DB9BD}" type="presParOf" srcId="{828CA9AC-D73D-41C4-B164-C63C77EFEB91}" destId="{C6069856-CB3A-4537-8E55-5575328BFDFB}" srcOrd="0" destOrd="0" presId="urn:microsoft.com/office/officeart/2005/8/layout/orgChart1"/>
    <dgm:cxn modelId="{14D178A3-CEE7-464B-B226-392C59490B38}" type="presParOf" srcId="{C6069856-CB3A-4537-8E55-5575328BFDFB}" destId="{67D27369-CD26-49B6-AD2D-4495BD417800}" srcOrd="0" destOrd="0" presId="urn:microsoft.com/office/officeart/2005/8/layout/orgChart1"/>
    <dgm:cxn modelId="{6ABA7169-8788-47C3-AEAD-07D4DF762DBF}" type="presParOf" srcId="{67D27369-CD26-49B6-AD2D-4495BD417800}" destId="{79F12B95-A82C-4022-A83C-0371AE9D7885}" srcOrd="0" destOrd="0" presId="urn:microsoft.com/office/officeart/2005/8/layout/orgChart1"/>
    <dgm:cxn modelId="{481ACE79-B214-4DD8-83E7-B19DCCD1E622}" type="presParOf" srcId="{67D27369-CD26-49B6-AD2D-4495BD417800}" destId="{75C2A5C2-2ED1-491D-A38B-A63E67B60034}" srcOrd="1" destOrd="0" presId="urn:microsoft.com/office/officeart/2005/8/layout/orgChart1"/>
    <dgm:cxn modelId="{CC46DF01-30B8-4632-B4A0-FC0763FFA7D3}" type="presParOf" srcId="{C6069856-CB3A-4537-8E55-5575328BFDFB}" destId="{DEAE28F2-8C4C-4FE9-8DBD-7C4AEF1EB0A0}" srcOrd="1" destOrd="0" presId="urn:microsoft.com/office/officeart/2005/8/layout/orgChart1"/>
    <dgm:cxn modelId="{76D22DE8-6589-4A42-834D-493FF7E8C75D}" type="presParOf" srcId="{DEAE28F2-8C4C-4FE9-8DBD-7C4AEF1EB0A0}" destId="{0595E253-C60F-4F5B-9BA8-FFFB14D58579}" srcOrd="0" destOrd="0" presId="urn:microsoft.com/office/officeart/2005/8/layout/orgChart1"/>
    <dgm:cxn modelId="{B11C7D37-FE98-40A4-9BC7-E126354E1D97}" type="presParOf" srcId="{DEAE28F2-8C4C-4FE9-8DBD-7C4AEF1EB0A0}" destId="{37F13889-1ED7-493D-9CEC-C5E6F5D0D522}" srcOrd="1" destOrd="0" presId="urn:microsoft.com/office/officeart/2005/8/layout/orgChart1"/>
    <dgm:cxn modelId="{71163BD3-95D2-4C4C-8F1E-115EB213C572}" type="presParOf" srcId="{37F13889-1ED7-493D-9CEC-C5E6F5D0D522}" destId="{F20D59F9-DFD8-4EC3-A62E-8D6104F49463}" srcOrd="0" destOrd="0" presId="urn:microsoft.com/office/officeart/2005/8/layout/orgChart1"/>
    <dgm:cxn modelId="{A0C7C948-B7DD-47BB-AE12-B14876F623DF}" type="presParOf" srcId="{F20D59F9-DFD8-4EC3-A62E-8D6104F49463}" destId="{576B6BF8-4194-4834-BD82-49BC69FFAF7C}" srcOrd="0" destOrd="0" presId="urn:microsoft.com/office/officeart/2005/8/layout/orgChart1"/>
    <dgm:cxn modelId="{F6F3DB50-8A16-496A-B46D-9FB8B67EF6F9}" type="presParOf" srcId="{F20D59F9-DFD8-4EC3-A62E-8D6104F49463}" destId="{1DBB9188-77BC-488D-8B0D-B661E29079ED}" srcOrd="1" destOrd="0" presId="urn:microsoft.com/office/officeart/2005/8/layout/orgChart1"/>
    <dgm:cxn modelId="{B4D6CD97-021D-4F83-A488-96659D13728C}" type="presParOf" srcId="{37F13889-1ED7-493D-9CEC-C5E6F5D0D522}" destId="{F955B476-CED6-48E2-BE25-DBE56FAE79C3}" srcOrd="1" destOrd="0" presId="urn:microsoft.com/office/officeart/2005/8/layout/orgChart1"/>
    <dgm:cxn modelId="{C1D481E6-3066-4EDF-B7CC-5D8FC2C6CBC4}" type="presParOf" srcId="{37F13889-1ED7-493D-9CEC-C5E6F5D0D522}" destId="{5165E49D-650D-416A-BDA9-F60BB42C2A70}" srcOrd="2" destOrd="0" presId="urn:microsoft.com/office/officeart/2005/8/layout/orgChart1"/>
    <dgm:cxn modelId="{F7E19025-8DAB-47FE-8219-5629156FFA41}" type="presParOf" srcId="{DEAE28F2-8C4C-4FE9-8DBD-7C4AEF1EB0A0}" destId="{EA17A83F-69EE-4EA1-A117-7F53F0A285D4}" srcOrd="2" destOrd="0" presId="urn:microsoft.com/office/officeart/2005/8/layout/orgChart1"/>
    <dgm:cxn modelId="{6503692B-0211-4193-94B7-0E6200FF50B1}" type="presParOf" srcId="{DEAE28F2-8C4C-4FE9-8DBD-7C4AEF1EB0A0}" destId="{BC458DEB-4D7D-435E-80BE-340F386EF0AA}" srcOrd="3" destOrd="0" presId="urn:microsoft.com/office/officeart/2005/8/layout/orgChart1"/>
    <dgm:cxn modelId="{2EF6DEA0-1FBE-43D2-82B3-A9701FDAE031}" type="presParOf" srcId="{BC458DEB-4D7D-435E-80BE-340F386EF0AA}" destId="{B9718FF5-FDA9-442E-B19A-140B93E2D905}" srcOrd="0" destOrd="0" presId="urn:microsoft.com/office/officeart/2005/8/layout/orgChart1"/>
    <dgm:cxn modelId="{92803927-D074-4425-9C72-6A4B9A69055A}" type="presParOf" srcId="{B9718FF5-FDA9-442E-B19A-140B93E2D905}" destId="{CDF92262-02CD-4E60-87CE-843348AE03A7}" srcOrd="0" destOrd="0" presId="urn:microsoft.com/office/officeart/2005/8/layout/orgChart1"/>
    <dgm:cxn modelId="{48186042-E286-4173-8539-3FF0682F26E3}" type="presParOf" srcId="{B9718FF5-FDA9-442E-B19A-140B93E2D905}" destId="{9C5323C1-0888-4F11-88C3-A4627A3B78EC}" srcOrd="1" destOrd="0" presId="urn:microsoft.com/office/officeart/2005/8/layout/orgChart1"/>
    <dgm:cxn modelId="{E7EA8233-AEED-4C98-A584-36E2C414AB6B}" type="presParOf" srcId="{BC458DEB-4D7D-435E-80BE-340F386EF0AA}" destId="{0A45214E-E206-412B-8044-C20D95601DDB}" srcOrd="1" destOrd="0" presId="urn:microsoft.com/office/officeart/2005/8/layout/orgChart1"/>
    <dgm:cxn modelId="{480A14BB-0343-4605-B43C-00F23C20F7F8}" type="presParOf" srcId="{BC458DEB-4D7D-435E-80BE-340F386EF0AA}" destId="{5C29C063-199A-4EC7-BD13-2D8BD1754B8B}" srcOrd="2" destOrd="0" presId="urn:microsoft.com/office/officeart/2005/8/layout/orgChart1"/>
    <dgm:cxn modelId="{D4305409-8E40-4791-ACA0-D5B8A2E3ECED}" type="presParOf" srcId="{DEAE28F2-8C4C-4FE9-8DBD-7C4AEF1EB0A0}" destId="{65E0FDA0-F8BC-47D5-BED3-9E17F66E1650}" srcOrd="4" destOrd="0" presId="urn:microsoft.com/office/officeart/2005/8/layout/orgChart1"/>
    <dgm:cxn modelId="{C0AEF942-B82A-4710-B180-91260F13D4CB}" type="presParOf" srcId="{DEAE28F2-8C4C-4FE9-8DBD-7C4AEF1EB0A0}" destId="{3905E8C5-D22F-45B3-894D-B46DB3997060}" srcOrd="5" destOrd="0" presId="urn:microsoft.com/office/officeart/2005/8/layout/orgChart1"/>
    <dgm:cxn modelId="{526C80B3-E366-421E-BDE6-C9C6801E242E}" type="presParOf" srcId="{3905E8C5-D22F-45B3-894D-B46DB3997060}" destId="{9ADA4B8F-029E-4918-8F55-109C42FA96D8}" srcOrd="0" destOrd="0" presId="urn:microsoft.com/office/officeart/2005/8/layout/orgChart1"/>
    <dgm:cxn modelId="{DA87DC52-6245-4AC3-95F7-4F08489A89AF}" type="presParOf" srcId="{9ADA4B8F-029E-4918-8F55-109C42FA96D8}" destId="{F7A8272A-535A-4EE5-9330-6963C784FBDD}" srcOrd="0" destOrd="0" presId="urn:microsoft.com/office/officeart/2005/8/layout/orgChart1"/>
    <dgm:cxn modelId="{40FB304B-4CC1-496A-B3A4-01A1806316C3}" type="presParOf" srcId="{9ADA4B8F-029E-4918-8F55-109C42FA96D8}" destId="{C13E6572-83E9-4B54-A9D1-510B7AE7891B}" srcOrd="1" destOrd="0" presId="urn:microsoft.com/office/officeart/2005/8/layout/orgChart1"/>
    <dgm:cxn modelId="{C23902E2-75CD-495C-8B71-33066D7801E9}" type="presParOf" srcId="{3905E8C5-D22F-45B3-894D-B46DB3997060}" destId="{31D96956-0007-47A6-8763-B7D8F6CF1A3D}" srcOrd="1" destOrd="0" presId="urn:microsoft.com/office/officeart/2005/8/layout/orgChart1"/>
    <dgm:cxn modelId="{1A1DF6D6-1241-4192-AC90-80F954B7538A}" type="presParOf" srcId="{3905E8C5-D22F-45B3-894D-B46DB3997060}" destId="{4DDB5A33-835E-406C-92BA-58CB08E9F6B4}" srcOrd="2" destOrd="0" presId="urn:microsoft.com/office/officeart/2005/8/layout/orgChart1"/>
    <dgm:cxn modelId="{415BA68D-0F43-4A7B-9D29-95247CB514E9}" type="presParOf" srcId="{DEAE28F2-8C4C-4FE9-8DBD-7C4AEF1EB0A0}" destId="{3D2CAB03-86DB-430F-93D9-CDF32A864A3E}" srcOrd="6" destOrd="0" presId="urn:microsoft.com/office/officeart/2005/8/layout/orgChart1"/>
    <dgm:cxn modelId="{E1BB8285-BB02-4937-B1E0-FBC193541AFD}" type="presParOf" srcId="{DEAE28F2-8C4C-4FE9-8DBD-7C4AEF1EB0A0}" destId="{8E48CD15-D8B4-48AB-82BA-BC685868BA12}" srcOrd="7" destOrd="0" presId="urn:microsoft.com/office/officeart/2005/8/layout/orgChart1"/>
    <dgm:cxn modelId="{F40FF7B6-D6B3-462E-B627-6B000295C8B6}" type="presParOf" srcId="{8E48CD15-D8B4-48AB-82BA-BC685868BA12}" destId="{5C2A49C5-C291-4485-944F-8C7F9BC700F1}" srcOrd="0" destOrd="0" presId="urn:microsoft.com/office/officeart/2005/8/layout/orgChart1"/>
    <dgm:cxn modelId="{7FE4A93E-CFA2-4636-AC7E-024ECA769991}" type="presParOf" srcId="{5C2A49C5-C291-4485-944F-8C7F9BC700F1}" destId="{EFA20FC2-1687-4859-A9A7-464518256A28}" srcOrd="0" destOrd="0" presId="urn:microsoft.com/office/officeart/2005/8/layout/orgChart1"/>
    <dgm:cxn modelId="{4B687047-0ADC-4ADF-AF00-EB990D6AB339}" type="presParOf" srcId="{5C2A49C5-C291-4485-944F-8C7F9BC700F1}" destId="{0381CC04-1B69-4BEA-82BB-DBFE9124DFB4}" srcOrd="1" destOrd="0" presId="urn:microsoft.com/office/officeart/2005/8/layout/orgChart1"/>
    <dgm:cxn modelId="{B4316AD9-8929-4B80-BB69-21B782038CCC}" type="presParOf" srcId="{8E48CD15-D8B4-48AB-82BA-BC685868BA12}" destId="{A1729B18-2D39-4D21-9A97-DC2FC7558320}" srcOrd="1" destOrd="0" presId="urn:microsoft.com/office/officeart/2005/8/layout/orgChart1"/>
    <dgm:cxn modelId="{FC0EEB13-BE9B-4CEB-91F6-9F526C3DAFD1}" type="presParOf" srcId="{8E48CD15-D8B4-48AB-82BA-BC685868BA12}" destId="{75A3BA65-4327-498E-A775-5F3FB713D10F}" srcOrd="2" destOrd="0" presId="urn:microsoft.com/office/officeart/2005/8/layout/orgChart1"/>
    <dgm:cxn modelId="{E52035F4-581A-40EB-84E1-BAE76AD2A5B9}" type="presParOf" srcId="{C6069856-CB3A-4537-8E55-5575328BFDFB}" destId="{460B28DC-0CF7-4651-8E3E-C4365CD26C26}"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2CAB03-86DB-430F-93D9-CDF32A864A3E}">
      <dsp:nvSpPr>
        <dsp:cNvPr id="0" name=""/>
        <dsp:cNvSpPr/>
      </dsp:nvSpPr>
      <dsp:spPr>
        <a:xfrm>
          <a:off x="4064000" y="2542452"/>
          <a:ext cx="3182949" cy="351018"/>
        </a:xfrm>
        <a:custGeom>
          <a:avLst/>
          <a:gdLst/>
          <a:ahLst/>
          <a:cxnLst/>
          <a:rect l="0" t="0" r="0" b="0"/>
          <a:pathLst>
            <a:path>
              <a:moveTo>
                <a:pt x="0" y="0"/>
              </a:moveTo>
              <a:lnTo>
                <a:pt x="0" y="166881"/>
              </a:lnTo>
              <a:lnTo>
                <a:pt x="3182949" y="166881"/>
              </a:lnTo>
              <a:lnTo>
                <a:pt x="3182949" y="351018"/>
              </a:lnTo>
            </a:path>
          </a:pathLst>
        </a:custGeom>
        <a:noFill/>
        <a:ln w="9525" cap="flat" cmpd="sng" algn="ctr">
          <a:solidFill>
            <a:schemeClr val="accent1"/>
          </a:solidFill>
          <a:prstDash val="dash"/>
          <a:round/>
          <a:headEnd type="none" w="med" len="med"/>
          <a:tailEnd type="none" w="med" len="med"/>
        </a:ln>
        <a:effectLst/>
      </dsp:spPr>
      <dsp:style>
        <a:lnRef idx="0">
          <a:scrgbClr r="0" g="0" b="0"/>
        </a:lnRef>
        <a:fillRef idx="0">
          <a:scrgbClr r="0" g="0" b="0"/>
        </a:fillRef>
        <a:effectRef idx="0">
          <a:scrgbClr r="0" g="0" b="0"/>
        </a:effectRef>
        <a:fontRef idx="minor">
          <a:schemeClr val="tx1"/>
        </a:fontRef>
      </dsp:style>
    </dsp:sp>
    <dsp:sp modelId="{65E0FDA0-F8BC-47D5-BED3-9E17F66E1650}">
      <dsp:nvSpPr>
        <dsp:cNvPr id="0" name=""/>
        <dsp:cNvSpPr/>
      </dsp:nvSpPr>
      <dsp:spPr>
        <a:xfrm>
          <a:off x="4064000" y="2542452"/>
          <a:ext cx="1060983" cy="351018"/>
        </a:xfrm>
        <a:custGeom>
          <a:avLst/>
          <a:gdLst/>
          <a:ahLst/>
          <a:cxnLst/>
          <a:rect l="0" t="0" r="0" b="0"/>
          <a:pathLst>
            <a:path>
              <a:moveTo>
                <a:pt x="0" y="0"/>
              </a:moveTo>
              <a:lnTo>
                <a:pt x="0" y="166881"/>
              </a:lnTo>
              <a:lnTo>
                <a:pt x="1060983" y="166881"/>
              </a:lnTo>
              <a:lnTo>
                <a:pt x="1060983" y="351018"/>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A17A83F-69EE-4EA1-A117-7F53F0A285D4}">
      <dsp:nvSpPr>
        <dsp:cNvPr id="0" name=""/>
        <dsp:cNvSpPr/>
      </dsp:nvSpPr>
      <dsp:spPr>
        <a:xfrm>
          <a:off x="3003016" y="2542452"/>
          <a:ext cx="1060983" cy="351018"/>
        </a:xfrm>
        <a:custGeom>
          <a:avLst/>
          <a:gdLst/>
          <a:ahLst/>
          <a:cxnLst/>
          <a:rect l="0" t="0" r="0" b="0"/>
          <a:pathLst>
            <a:path>
              <a:moveTo>
                <a:pt x="1060983" y="0"/>
              </a:moveTo>
              <a:lnTo>
                <a:pt x="1060983" y="166881"/>
              </a:lnTo>
              <a:lnTo>
                <a:pt x="0" y="166881"/>
              </a:lnTo>
              <a:lnTo>
                <a:pt x="0" y="351018"/>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595E253-C60F-4F5B-9BA8-FFFB14D58579}">
      <dsp:nvSpPr>
        <dsp:cNvPr id="0" name=""/>
        <dsp:cNvSpPr/>
      </dsp:nvSpPr>
      <dsp:spPr>
        <a:xfrm>
          <a:off x="881050" y="2542452"/>
          <a:ext cx="3182949" cy="351018"/>
        </a:xfrm>
        <a:custGeom>
          <a:avLst/>
          <a:gdLst/>
          <a:ahLst/>
          <a:cxnLst/>
          <a:rect l="0" t="0" r="0" b="0"/>
          <a:pathLst>
            <a:path>
              <a:moveTo>
                <a:pt x="3182949" y="0"/>
              </a:moveTo>
              <a:lnTo>
                <a:pt x="3182949" y="166881"/>
              </a:lnTo>
              <a:lnTo>
                <a:pt x="0" y="166881"/>
              </a:lnTo>
              <a:lnTo>
                <a:pt x="0" y="351018"/>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9F12B95-A82C-4022-A83C-0371AE9D7885}">
      <dsp:nvSpPr>
        <dsp:cNvPr id="0" name=""/>
        <dsp:cNvSpPr/>
      </dsp:nvSpPr>
      <dsp:spPr>
        <a:xfrm>
          <a:off x="3187154" y="1665606"/>
          <a:ext cx="1753691" cy="87684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GB" sz="1900" kern="1200" dirty="0"/>
            <a:t>Head of Data &amp; Analytics</a:t>
          </a:r>
        </a:p>
      </dsp:txBody>
      <dsp:txXfrm>
        <a:off x="3187154" y="1665606"/>
        <a:ext cx="1753691" cy="876845"/>
      </dsp:txXfrm>
    </dsp:sp>
    <dsp:sp modelId="{576B6BF8-4194-4834-BD82-49BC69FFAF7C}">
      <dsp:nvSpPr>
        <dsp:cNvPr id="0" name=""/>
        <dsp:cNvSpPr/>
      </dsp:nvSpPr>
      <dsp:spPr>
        <a:xfrm>
          <a:off x="4204" y="2893471"/>
          <a:ext cx="1753691" cy="87684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GB" sz="1900" kern="1200" dirty="0"/>
            <a:t>Enterprise Data &amp; Analytics Architecture</a:t>
          </a:r>
        </a:p>
      </dsp:txBody>
      <dsp:txXfrm>
        <a:off x="4204" y="2893471"/>
        <a:ext cx="1753691" cy="876845"/>
      </dsp:txXfrm>
    </dsp:sp>
    <dsp:sp modelId="{CDF92262-02CD-4E60-87CE-843348AE03A7}">
      <dsp:nvSpPr>
        <dsp:cNvPr id="0" name=""/>
        <dsp:cNvSpPr/>
      </dsp:nvSpPr>
      <dsp:spPr>
        <a:xfrm>
          <a:off x="2126170" y="2893471"/>
          <a:ext cx="1753691" cy="87684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GB" sz="1900" kern="1200" dirty="0"/>
            <a:t>Data Governance</a:t>
          </a:r>
        </a:p>
      </dsp:txBody>
      <dsp:txXfrm>
        <a:off x="2126170" y="2893471"/>
        <a:ext cx="1753691" cy="876845"/>
      </dsp:txXfrm>
    </dsp:sp>
    <dsp:sp modelId="{F7A8272A-535A-4EE5-9330-6963C784FBDD}">
      <dsp:nvSpPr>
        <dsp:cNvPr id="0" name=""/>
        <dsp:cNvSpPr/>
      </dsp:nvSpPr>
      <dsp:spPr>
        <a:xfrm>
          <a:off x="4248137" y="2893471"/>
          <a:ext cx="1753691" cy="87684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GB" sz="1900" kern="1200" dirty="0"/>
            <a:t>Data Strategy</a:t>
          </a:r>
        </a:p>
      </dsp:txBody>
      <dsp:txXfrm>
        <a:off x="4248137" y="2893471"/>
        <a:ext cx="1753691" cy="876845"/>
      </dsp:txXfrm>
    </dsp:sp>
    <dsp:sp modelId="{EFA20FC2-1687-4859-A9A7-464518256A28}">
      <dsp:nvSpPr>
        <dsp:cNvPr id="0" name=""/>
        <dsp:cNvSpPr/>
      </dsp:nvSpPr>
      <dsp:spPr>
        <a:xfrm>
          <a:off x="6370104" y="2893471"/>
          <a:ext cx="1753691" cy="876845"/>
        </a:xfrm>
        <a:prstGeom prst="rect">
          <a:avLst/>
        </a:prstGeom>
        <a:solidFill>
          <a:schemeClr val="accent1">
            <a:lumMod val="25000"/>
            <a:lumOff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GB" sz="1900" kern="1200" dirty="0"/>
            <a:t>Data Platforms &amp; Engineering</a:t>
          </a:r>
        </a:p>
      </dsp:txBody>
      <dsp:txXfrm>
        <a:off x="6370104" y="2893471"/>
        <a:ext cx="1753691" cy="876845"/>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44C866-FFE9-4121-9132-6A71226DFEE0}" type="datetimeFigureOut">
              <a:rPr lang="en-GB" smtClean="0"/>
              <a:t>14/12/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ECC8FF-5FF4-423F-B623-7B31061F62D2}" type="slidenum">
              <a:rPr lang="en-GB" smtClean="0"/>
              <a:t>‹#›</a:t>
            </a:fld>
            <a:endParaRPr lang="en-GB"/>
          </a:p>
        </p:txBody>
      </p:sp>
    </p:spTree>
    <p:extLst>
      <p:ext uri="{BB962C8B-B14F-4D97-AF65-F5344CB8AC3E}">
        <p14:creationId xmlns:p14="http://schemas.microsoft.com/office/powerpoint/2010/main" val="3436829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89.bin"/></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141.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91.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2.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93.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4.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95.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6.bin"/></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154.xml"/><Relationship Id="rId4" Type="http://schemas.openxmlformats.org/officeDocument/2006/relationships/image" Target="../media/image8.emf"/></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98.bin"/><Relationship Id="rId7"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15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8.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8.emf"/><Relationship Id="rId4" Type="http://schemas.openxmlformats.org/officeDocument/2006/relationships/oleObject" Target="../embeddings/oleObject99.bin"/></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58.xml"/><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0.xml"/><Relationship Id="rId1" Type="http://schemas.openxmlformats.org/officeDocument/2006/relationships/tags" Target="../tags/tag159.xml"/><Relationship Id="rId5" Type="http://schemas.openxmlformats.org/officeDocument/2006/relationships/image" Target="../media/image8.emf"/><Relationship Id="rId4" Type="http://schemas.openxmlformats.org/officeDocument/2006/relationships/oleObject" Target="../embeddings/oleObject101.bin"/></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61.xml"/><Relationship Id="rId4" Type="http://schemas.openxmlformats.org/officeDocument/2006/relationships/image" Target="../media/image8.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62.xml"/><Relationship Id="rId4" Type="http://schemas.openxmlformats.org/officeDocument/2006/relationships/image" Target="../media/image8.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63.xml"/><Relationship Id="rId4" Type="http://schemas.openxmlformats.org/officeDocument/2006/relationships/image" Target="../media/image8.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64.xml"/><Relationship Id="rId4" Type="http://schemas.openxmlformats.org/officeDocument/2006/relationships/image" Target="../media/image2.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65.xml"/><Relationship Id="rId4" Type="http://schemas.openxmlformats.org/officeDocument/2006/relationships/image" Target="../media/image8.emf"/></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07.bin"/><Relationship Id="rId9" Type="http://schemas.openxmlformats.org/officeDocument/2006/relationships/image" Target="../media/image6.png"/></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08.bin"/><Relationship Id="rId9"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109.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8.emf"/><Relationship Id="rId4" Type="http://schemas.openxmlformats.org/officeDocument/2006/relationships/oleObject" Target="../embeddings/oleObject110.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8.emf"/><Relationship Id="rId4" Type="http://schemas.openxmlformats.org/officeDocument/2006/relationships/oleObject" Target="../embeddings/oleObject111.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8.emf"/><Relationship Id="rId4" Type="http://schemas.openxmlformats.org/officeDocument/2006/relationships/oleObject" Target="../embeddings/oleObject112.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8.emf"/><Relationship Id="rId4" Type="http://schemas.openxmlformats.org/officeDocument/2006/relationships/oleObject" Target="../embeddings/oleObject113.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image" Target="../media/image8.emf"/><Relationship Id="rId4" Type="http://schemas.openxmlformats.org/officeDocument/2006/relationships/oleObject" Target="../embeddings/oleObject114.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5.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6.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7.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8.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2.xml"/><Relationship Id="rId1" Type="http://schemas.openxmlformats.org/officeDocument/2006/relationships/tags" Target="../tags/tag190.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2.xml"/><Relationship Id="rId1" Type="http://schemas.openxmlformats.org/officeDocument/2006/relationships/tags" Target="../tags/tag191.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10.png"/><Relationship Id="rId5" Type="http://schemas.openxmlformats.org/officeDocument/2006/relationships/image" Target="../media/image12.emf"/><Relationship Id="rId4" Type="http://schemas.openxmlformats.org/officeDocument/2006/relationships/oleObject" Target="../embeddings/oleObject121.bin"/></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2.xml"/><Relationship Id="rId1" Type="http://schemas.openxmlformats.org/officeDocument/2006/relationships/tags" Target="../tags/tag194.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2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4.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25.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6.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27.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2.xml"/><Relationship Id="rId1" Type="http://schemas.openxmlformats.org/officeDocument/2006/relationships/tags" Target="../tags/tag207.xml"/><Relationship Id="rId4" Type="http://schemas.openxmlformats.org/officeDocument/2006/relationships/image" Target="../media/image8.emf"/></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9.xml"/><Relationship Id="rId1" Type="http://schemas.openxmlformats.org/officeDocument/2006/relationships/tags" Target="../tags/tag208.xml"/><Relationship Id="rId5" Type="http://schemas.openxmlformats.org/officeDocument/2006/relationships/image" Target="../media/image8.emf"/><Relationship Id="rId4" Type="http://schemas.openxmlformats.org/officeDocument/2006/relationships/oleObject" Target="../embeddings/oleObject130.bin"/></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2.xml"/><Relationship Id="rId1" Type="http://schemas.openxmlformats.org/officeDocument/2006/relationships/tags" Target="../tags/tag210.xml"/><Relationship Id="rId5" Type="http://schemas.openxmlformats.org/officeDocument/2006/relationships/image" Target="../media/image15.png"/><Relationship Id="rId4" Type="http://schemas.openxmlformats.org/officeDocument/2006/relationships/image" Target="../media/image2.emf"/></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2.xml"/><Relationship Id="rId1" Type="http://schemas.openxmlformats.org/officeDocument/2006/relationships/tags" Target="../tags/tag211.xml"/><Relationship Id="rId5" Type="http://schemas.openxmlformats.org/officeDocument/2006/relationships/image" Target="../media/image8.emf"/><Relationship Id="rId4" Type="http://schemas.openxmlformats.org/officeDocument/2006/relationships/oleObject" Target="../embeddings/oleObject132.bin"/></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2.xml"/><Relationship Id="rId1" Type="http://schemas.openxmlformats.org/officeDocument/2006/relationships/tags" Target="../tags/tag213.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2.xml"/><Relationship Id="rId1" Type="http://schemas.openxmlformats.org/officeDocument/2006/relationships/tags" Target="../tags/tag214.xml"/><Relationship Id="rId4" Type="http://schemas.openxmlformats.org/officeDocument/2006/relationships/image" Target="../media/image8.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2.xml"/><Relationship Id="rId1" Type="http://schemas.openxmlformats.org/officeDocument/2006/relationships/tags" Target="../tags/tag215.xml"/><Relationship Id="rId4" Type="http://schemas.openxmlformats.org/officeDocument/2006/relationships/image" Target="../media/image8.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2.xml"/><Relationship Id="rId1" Type="http://schemas.openxmlformats.org/officeDocument/2006/relationships/tags" Target="../tags/tag216.xml"/><Relationship Id="rId4" Type="http://schemas.openxmlformats.org/officeDocument/2006/relationships/image" Target="../media/image8.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2.xml"/><Relationship Id="rId1" Type="http://schemas.openxmlformats.org/officeDocument/2006/relationships/tags" Target="../tags/tag217.xml"/><Relationship Id="rId4" Type="http://schemas.openxmlformats.org/officeDocument/2006/relationships/image" Target="../media/image2.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2.xml"/><Relationship Id="rId1" Type="http://schemas.openxmlformats.org/officeDocument/2006/relationships/tags" Target="../tags/tag218.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2.xml"/><Relationship Id="rId1" Type="http://schemas.openxmlformats.org/officeDocument/2006/relationships/tags" Target="../tags/tag221.xml"/><Relationship Id="rId4" Type="http://schemas.openxmlformats.org/officeDocument/2006/relationships/image" Target="../media/image1.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2.xml"/><Relationship Id="rId1" Type="http://schemas.openxmlformats.org/officeDocument/2006/relationships/tags" Target="../tags/tag222.xml"/><Relationship Id="rId4" Type="http://schemas.openxmlformats.org/officeDocument/2006/relationships/image" Target="../media/image1.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2.xml"/><Relationship Id="rId1" Type="http://schemas.openxmlformats.org/officeDocument/2006/relationships/tags" Target="../tags/tag223.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5.xml"/><Relationship Id="rId1" Type="http://schemas.openxmlformats.org/officeDocument/2006/relationships/tags" Target="../tags/tag224.x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2.xml"/><Relationship Id="rId1" Type="http://schemas.openxmlformats.org/officeDocument/2006/relationships/tags" Target="../tags/tag226.xml"/><Relationship Id="rId4" Type="http://schemas.openxmlformats.org/officeDocument/2006/relationships/image" Target="../media/image1.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2.xml"/><Relationship Id="rId1" Type="http://schemas.openxmlformats.org/officeDocument/2006/relationships/tags" Target="../tags/tag227.xml"/><Relationship Id="rId4" Type="http://schemas.openxmlformats.org/officeDocument/2006/relationships/image" Target="../media/image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2.xml"/><Relationship Id="rId1" Type="http://schemas.openxmlformats.org/officeDocument/2006/relationships/tags" Target="../tags/tag228.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2.xml"/><Relationship Id="rId1" Type="http://schemas.openxmlformats.org/officeDocument/2006/relationships/tags" Target="../tags/tag229.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2.xml"/><Relationship Id="rId1" Type="http://schemas.openxmlformats.org/officeDocument/2006/relationships/tags" Target="../tags/tag230.xml"/><Relationship Id="rId5" Type="http://schemas.openxmlformats.org/officeDocument/2006/relationships/image" Target="../media/image17.png"/><Relationship Id="rId4" Type="http://schemas.openxmlformats.org/officeDocument/2006/relationships/image" Target="../media/image16.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23.pn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8.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bin"/><Relationship Id="rId9"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0.png"/><Relationship Id="rId1" Type="http://schemas.openxmlformats.org/officeDocument/2006/relationships/slideMaster" Target="../slideMasters/slideMaster4.xml"/><Relationship Id="rId4" Type="http://schemas.openxmlformats.org/officeDocument/2006/relationships/image" Target="../media/image22.sv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23.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4.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8.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8.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8.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3.bin"/><Relationship Id="rId9"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4.bin"/><Relationship Id="rId9"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8.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8.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8.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8.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8.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7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76.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0.png"/><Relationship Id="rId5" Type="http://schemas.openxmlformats.org/officeDocument/2006/relationships/image" Target="../media/image12.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79.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92.xml"/><Relationship Id="rId4" Type="http://schemas.openxmlformats.org/officeDocument/2006/relationships/image" Target="../media/image8.emf"/></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8.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95.xml"/><Relationship Id="rId5" Type="http://schemas.openxmlformats.org/officeDocument/2006/relationships/image" Target="../media/image15.png"/><Relationship Id="rId4"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8.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98.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99.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100.xml"/><Relationship Id="rId4" Type="http://schemas.openxmlformats.org/officeDocument/2006/relationships/image" Target="../media/image8.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8.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102.xml"/><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103.xml"/><Relationship Id="rId4" Type="http://schemas.openxmlformats.org/officeDocument/2006/relationships/image" Target="../media/image8.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106.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107.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108.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11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8.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xml"/><Relationship Id="rId1" Type="http://schemas.openxmlformats.org/officeDocument/2006/relationships/tags" Target="../tags/tag112.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xml"/><Relationship Id="rId1" Type="http://schemas.openxmlformats.org/officeDocument/2006/relationships/tags" Target="../tags/tag113.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xml"/><Relationship Id="rId1" Type="http://schemas.openxmlformats.org/officeDocument/2006/relationships/tags" Target="../tags/tag11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xml"/><Relationship Id="rId1" Type="http://schemas.openxmlformats.org/officeDocument/2006/relationships/tags" Target="../tags/tag115.xml"/><Relationship Id="rId5" Type="http://schemas.openxmlformats.org/officeDocument/2006/relationships/image" Target="../media/image17.png"/><Relationship Id="rId4" Type="http://schemas.openxmlformats.org/officeDocument/2006/relationships/image" Target="../media/image16.emf"/></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8.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76.bin"/><Relationship Id="rId9" Type="http://schemas.openxmlformats.org/officeDocument/2006/relationships/image" Target="../media/image6.png"/></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77.bin"/><Relationship Id="rId9" Type="http://schemas.openxmlformats.org/officeDocument/2006/relationships/image" Target="../media/image6.pn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8.emf"/><Relationship Id="rId4" Type="http://schemas.openxmlformats.org/officeDocument/2006/relationships/oleObject" Target="../embeddings/oleObject7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8.emf"/><Relationship Id="rId4" Type="http://schemas.openxmlformats.org/officeDocument/2006/relationships/oleObject" Target="../embeddings/oleObject80.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8.emf"/><Relationship Id="rId4" Type="http://schemas.openxmlformats.org/officeDocument/2006/relationships/oleObject" Target="../embeddings/oleObject81.bin"/></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130.xml"/><Relationship Id="rId4" Type="http://schemas.openxmlformats.org/officeDocument/2006/relationships/image" Target="../media/image8.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131.xml"/><Relationship Id="rId4" Type="http://schemas.openxmlformats.org/officeDocument/2006/relationships/image" Target="../media/image8.emf"/></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4.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5.bin"/></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136.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13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138.xml"/><Relationship Id="rId5" Type="http://schemas.openxmlformats.org/officeDocument/2006/relationships/image" Target="../media/image9.png"/><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3291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8"/>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781173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97703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428113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0329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91825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0732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3735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424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02049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00979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05803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3309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6427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169599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63345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7673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70586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660831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04203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078807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16260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7"/>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6112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6147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02136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19865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646179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05382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20251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67440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604635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24138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156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31084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454002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96809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80486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94148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3978551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60817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424286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54909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8"/>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4132512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9885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6"/>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575729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41219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56389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48616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207715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2723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400206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31086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641388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6906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74241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74852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904484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87005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6923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4532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906775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2206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430668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22105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50067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05685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723233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09204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3851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18968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845352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63792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730636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38872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4355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5282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41315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84418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5870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11479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64931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76131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7796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46867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5249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07962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9481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05790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98925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21744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5968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6691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79255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22196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162606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064034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4274250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70494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973737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6248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5379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69531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779331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61617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43282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6466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0947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792348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2845889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19113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668003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27851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984577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84879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277671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5959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405741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83900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8319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1034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029504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84822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3205161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5775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128216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31916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3393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015775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080054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352782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3661046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1"/>
            </p:custDataLst>
            <p:extLst>
              <p:ext uri="{D42A27DB-BD31-4B8C-83A1-F6EECF244321}">
                <p14:modId xmlns:p14="http://schemas.microsoft.com/office/powerpoint/2010/main" val="1102627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153169671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50467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0840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428848588"/>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86342365"/>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150617474"/>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85804424"/>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04334576"/>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939607881"/>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211507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269731030"/>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133470234"/>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645994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84922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92035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671226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67592093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0874754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C48C6DC-682E-4721-829A-31576897B293}"/>
              </a:ext>
            </a:extLst>
          </p:cNvPr>
          <p:cNvSpPr>
            <a:spLocks noGrp="1"/>
          </p:cNvSpPr>
          <p:nvPr>
            <p:ph type="ftr" sz="quarter" idx="10"/>
          </p:nvPr>
        </p:nvSpPr>
        <p:spPr/>
        <p:txBody>
          <a:bodyPr/>
          <a:lstStyle/>
          <a:p>
            <a:pPr>
              <a:tabLst>
                <a:tab pos="741760" algn="l"/>
              </a:tabLst>
            </a:pPr>
            <a:r>
              <a:rPr lang="fr-FR"/>
              <a:t>| [Insert document title] | [Insert date]</a:t>
            </a:r>
          </a:p>
        </p:txBody>
      </p:sp>
    </p:spTree>
    <p:extLst>
      <p:ext uri="{BB962C8B-B14F-4D97-AF65-F5344CB8AC3E}">
        <p14:creationId xmlns:p14="http://schemas.microsoft.com/office/powerpoint/2010/main" val="170125658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171358" y="1411205"/>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4379084" y="1411202"/>
            <a:ext cx="3456000" cy="1408078"/>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576000" y="1411202"/>
            <a:ext cx="3456000" cy="1408078"/>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2A28C172-F8CF-46F7-804C-835BAF38DD6B}"/>
              </a:ext>
            </a:extLst>
          </p:cNvPr>
          <p:cNvSpPr>
            <a:spLocks noGrp="1"/>
          </p:cNvSpPr>
          <p:nvPr>
            <p:ph type="ftr" sz="quarter" idx="20"/>
          </p:nvPr>
        </p:nvSpPr>
        <p:spPr/>
        <p:txBody>
          <a:bodyPr/>
          <a:lstStyle/>
          <a:p>
            <a:pPr>
              <a:tabLst>
                <a:tab pos="741760" algn="l"/>
              </a:tabLst>
            </a:pPr>
            <a:r>
              <a:rPr lang="fr-FR"/>
              <a:t>| [Insert document title] | [Insert date]</a:t>
            </a:r>
          </a:p>
        </p:txBody>
      </p:sp>
    </p:spTree>
    <p:extLst>
      <p:ext uri="{BB962C8B-B14F-4D97-AF65-F5344CB8AC3E}">
        <p14:creationId xmlns:p14="http://schemas.microsoft.com/office/powerpoint/2010/main" val="3069740905"/>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7" y="1411290"/>
            <a:ext cx="7247465" cy="1408078"/>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pPr>
              <a:tabLst>
                <a:tab pos="741760" algn="l"/>
              </a:tabLst>
            </a:pPr>
            <a:r>
              <a:rPr lang="fr-FR"/>
              <a:t>| [Insert document title] | [Insert date]</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12275233" y="2"/>
            <a:ext cx="2706315" cy="1419939"/>
            <a:chOff x="3528102" y="847657"/>
            <a:chExt cx="2029736" cy="1419939"/>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138844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205"/>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670058543"/>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576000" y="1411200"/>
            <a:ext cx="11040000" cy="4605251"/>
          </a:xfrm>
          <a:prstGeom prst="rect">
            <a:avLst/>
          </a:prstGeom>
        </p:spPr>
        <p:txBody>
          <a:bodyPr>
            <a:noAutofit/>
          </a:bodyPr>
          <a:lstStyle>
            <a:lvl1pPr>
              <a:defRPr>
                <a:solidFill>
                  <a:schemeClr val="accent1"/>
                </a:solidFill>
              </a:defRPr>
            </a:lvl1pPr>
          </a:lstStyle>
          <a:p>
            <a:r>
              <a:rPr lang="en-GB"/>
              <a:t> </a:t>
            </a:r>
          </a:p>
        </p:txBody>
      </p:sp>
      <p:sp>
        <p:nvSpPr>
          <p:cNvPr id="5" name="Footer Placeholder 4">
            <a:extLst>
              <a:ext uri="{FF2B5EF4-FFF2-40B4-BE49-F238E27FC236}">
                <a16:creationId xmlns:a16="http://schemas.microsoft.com/office/drawing/2014/main" id="{03D600AF-67DA-4103-ADCF-D04CEE1258D5}"/>
              </a:ext>
            </a:extLst>
          </p:cNvPr>
          <p:cNvSpPr>
            <a:spLocks noGrp="1"/>
          </p:cNvSpPr>
          <p:nvPr>
            <p:ph type="ftr" sz="quarter" idx="16"/>
          </p:nvPr>
        </p:nvSpPr>
        <p:spPr/>
        <p:txBody>
          <a:bodyPr/>
          <a:lstStyle/>
          <a:p>
            <a:pPr>
              <a:tabLst>
                <a:tab pos="741760" algn="l"/>
              </a:tabLst>
            </a:pPr>
            <a:r>
              <a:rPr lang="fr-FR"/>
              <a:t>| [Insert document title] | [Insert date]</a:t>
            </a:r>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12275233" y="48041"/>
            <a:ext cx="2706315" cy="677775"/>
          </a:xfrm>
          <a:prstGeom prst="rect">
            <a:avLst/>
          </a:prstGeom>
          <a:solidFill>
            <a:sysClr val="window" lastClr="FFFFFF">
              <a:lumMod val="95000"/>
            </a:sysClr>
          </a:solidFill>
          <a:ln w="6350" cap="flat" cmpd="sng" algn="ctr">
            <a:noFill/>
            <a:prstDash val="solid"/>
            <a:miter lim="800000"/>
          </a:ln>
          <a:effectLst/>
        </p:spPr>
        <p:txBody>
          <a:bodyPr wrap="square" lIns="27000" tIns="27000" rIns="27000" bIns="27000" rtlCol="0" anchor="t" anchorCtr="0">
            <a:spAutoFit/>
          </a:bodyPr>
          <a:lstStyle/>
          <a:p>
            <a:pPr marL="0" marR="0" lvl="2" indent="0" defTabSz="6858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6858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69850249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80"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6"/>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586819" y="1417313"/>
            <a:ext cx="5270000"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5" name="Group 34"/>
          <p:cNvGrpSpPr/>
          <p:nvPr userDrawn="1"/>
        </p:nvGrpSpPr>
        <p:grpSpPr>
          <a:xfrm>
            <a:off x="568761" y="6133630"/>
            <a:ext cx="2540000" cy="40151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12275237" y="0"/>
            <a:ext cx="2707513" cy="137957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3153047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782423" y="2571750"/>
            <a:ext cx="6975861"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9167172" y="0"/>
            <a:ext cx="7088833"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5339829" y="3530265"/>
            <a:ext cx="10916171"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11446569" y="2452280"/>
            <a:ext cx="34624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782425" y="1417313"/>
            <a:ext cx="7026667"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8" name="Group 37"/>
          <p:cNvGrpSpPr/>
          <p:nvPr userDrawn="1"/>
        </p:nvGrpSpPr>
        <p:grpSpPr>
          <a:xfrm>
            <a:off x="758348" y="6133629"/>
            <a:ext cx="3386667"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3500965" cy="582935"/>
          </a:xfrm>
          <a:prstGeom prst="rect">
            <a:avLst/>
          </a:prstGeom>
        </p:spPr>
      </p:pic>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42442593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782423" y="2571750"/>
            <a:ext cx="6975861"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9167172" y="0"/>
            <a:ext cx="7088833"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5339829" y="3530265"/>
            <a:ext cx="10916171"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11446569" y="2452280"/>
            <a:ext cx="34624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782425" y="1417313"/>
            <a:ext cx="7026667"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6" name="Group 35"/>
          <p:cNvGrpSpPr/>
          <p:nvPr userDrawn="1"/>
        </p:nvGrpSpPr>
        <p:grpSpPr>
          <a:xfrm>
            <a:off x="758348" y="6133629"/>
            <a:ext cx="3386667" cy="40151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3500965" cy="582935"/>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1523105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65534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073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80"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6"/>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30"/>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7" y="0"/>
            <a:ext cx="2707513" cy="137957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107489294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782423" y="2571750"/>
            <a:ext cx="6975861"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9167172" y="0"/>
            <a:ext cx="7088833"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5339829" y="3530265"/>
            <a:ext cx="10916171"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11446569" y="2452280"/>
            <a:ext cx="34624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782425" y="1417313"/>
            <a:ext cx="7026667"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8" name="Group 37"/>
          <p:cNvGrpSpPr/>
          <p:nvPr userDrawn="1"/>
        </p:nvGrpSpPr>
        <p:grpSpPr>
          <a:xfrm>
            <a:off x="758348" y="6133629"/>
            <a:ext cx="3386667"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2325029" cy="582935"/>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04725184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10" y="3044284"/>
            <a:ext cx="5255711"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8" y="1494956"/>
            <a:ext cx="3464989"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568761" y="6133630"/>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Tree>
    <p:extLst>
      <p:ext uri="{BB962C8B-B14F-4D97-AF65-F5344CB8AC3E}">
        <p14:creationId xmlns:p14="http://schemas.microsoft.com/office/powerpoint/2010/main" val="44891596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801479" y="3044283"/>
            <a:ext cx="7007615"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733745" y="1494956"/>
            <a:ext cx="4619985"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7204800" y="6368"/>
            <a:ext cx="90512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758348" y="6133629"/>
            <a:ext cx="3386667"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3500965" cy="582935"/>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51700433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801479" y="3044283"/>
            <a:ext cx="7007615"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733745" y="1494956"/>
            <a:ext cx="4619985"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7204800" y="6368"/>
            <a:ext cx="90512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758348" y="6133629"/>
            <a:ext cx="3386667"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3500965" cy="582935"/>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51993718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10" y="3044284"/>
            <a:ext cx="5255711"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8" y="1494956"/>
            <a:ext cx="3464989"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30"/>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7" y="0"/>
            <a:ext cx="2707513" cy="137957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66578583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801479" y="3044283"/>
            <a:ext cx="7007615"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733745" y="1494956"/>
            <a:ext cx="4619985"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7204800" y="6368"/>
            <a:ext cx="90512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7" name="Group 26"/>
          <p:cNvGrpSpPr/>
          <p:nvPr userDrawn="1"/>
        </p:nvGrpSpPr>
        <p:grpSpPr>
          <a:xfrm>
            <a:off x="758348" y="6133629"/>
            <a:ext cx="3386667" cy="40151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2325029" cy="582935"/>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5216376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806700" y="2909034"/>
            <a:ext cx="6578600" cy="1039932"/>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Tree>
    <p:extLst>
      <p:ext uri="{BB962C8B-B14F-4D97-AF65-F5344CB8AC3E}">
        <p14:creationId xmlns:p14="http://schemas.microsoft.com/office/powerpoint/2010/main" val="152587991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C6AA9-239E-4F58-952F-0D2749CD3C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9AA8204-E38B-4E8C-80A7-CA1CF1A15427}"/>
              </a:ext>
            </a:extLst>
          </p:cNvPr>
          <p:cNvSpPr>
            <a:spLocks noGrp="1"/>
          </p:cNvSpPr>
          <p:nvPr>
            <p:ph idx="1"/>
          </p:nvPr>
        </p:nvSpPr>
        <p:spPr>
          <a:xfrm>
            <a:off x="575736" y="1412482"/>
            <a:ext cx="11040533" cy="140807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908DD85F-6510-4687-9910-2AF87CC59BCC}"/>
              </a:ext>
            </a:extLst>
          </p:cNvPr>
          <p:cNvSpPr>
            <a:spLocks noGrp="1"/>
          </p:cNvSpPr>
          <p:nvPr>
            <p:ph type="ftr" sz="quarter" idx="10"/>
          </p:nvPr>
        </p:nvSpPr>
        <p:spPr/>
        <p:txBody>
          <a:bodyPr/>
          <a:lstStyle/>
          <a:p>
            <a:pPr>
              <a:tabLst>
                <a:tab pos="741760" algn="l"/>
              </a:tabLst>
            </a:pPr>
            <a:r>
              <a:rPr lang="fr-FR"/>
              <a:t>| US Transformation | September 2019</a:t>
            </a:r>
          </a:p>
        </p:txBody>
      </p:sp>
    </p:spTree>
    <p:extLst>
      <p:ext uri="{BB962C8B-B14F-4D97-AF65-F5344CB8AC3E}">
        <p14:creationId xmlns:p14="http://schemas.microsoft.com/office/powerpoint/2010/main" val="398901394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6918422" y="4"/>
            <a:ext cx="8818300"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4052727" y="3550800"/>
            <a:ext cx="88192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8615173" y="2468831"/>
            <a:ext cx="2560000" cy="192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4695" y="6178549"/>
            <a:ext cx="2508132"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587016" y="1411820"/>
            <a:ext cx="7171269"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7016" y="3467403"/>
            <a:ext cx="7171269" cy="39241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6366982" y="1"/>
            <a:ext cx="3610017" cy="1839425"/>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58232891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06805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58056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8989" algn="l"/>
              </a:tabLst>
            </a:pPr>
            <a:r>
              <a:rPr lang="en-US"/>
              <a:t>Extended Leadership Team Conference 2018</a:t>
            </a:r>
            <a:endParaRPr lang="fr-FR" b="1"/>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36306412"/>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90" y="1416053"/>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6" y="1416671"/>
            <a:ext cx="345631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71"/>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9" y="6419624"/>
            <a:ext cx="7753255" cy="169277"/>
          </a:xfrm>
        </p:spPr>
        <p:txBody>
          <a:bodyPr/>
          <a:lstStyle>
            <a:lvl1pPr>
              <a:defRPr b="0"/>
            </a:lvl1pPr>
          </a:lstStyle>
          <a:p>
            <a:pPr>
              <a:tabLst>
                <a:tab pos="988989" algn="l"/>
              </a:tabLst>
            </a:pPr>
            <a:r>
              <a:rPr lang="en-US"/>
              <a:t>Extended Leadership Team Conference 2018</a:t>
            </a:r>
            <a:endParaRPr lang="fr-FR"/>
          </a:p>
        </p:txBody>
      </p:sp>
    </p:spTree>
    <p:extLst>
      <p:ext uri="{BB962C8B-B14F-4D97-AF65-F5344CB8AC3E}">
        <p14:creationId xmlns:p14="http://schemas.microsoft.com/office/powerpoint/2010/main" val="2581481270"/>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a:xfrm>
            <a:off x="3615564" y="6452785"/>
            <a:ext cx="7828105" cy="169277"/>
          </a:xfrm>
        </p:spPr>
        <p:txBody>
          <a:bodyPr/>
          <a:lstStyle>
            <a:lvl1pPr>
              <a:defRPr b="0"/>
            </a:lvl1pPr>
          </a:lstStyle>
          <a:p>
            <a:pPr>
              <a:tabLst>
                <a:tab pos="988989" algn="l"/>
              </a:tabLst>
            </a:pPr>
            <a:r>
              <a:rPr lang="en-US"/>
              <a:t>Extended Leadership Team Conference 2018</a:t>
            </a:r>
            <a:endParaRPr lang="fr-FR" b="1"/>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9" y="1424520"/>
            <a:ext cx="7392828" cy="1877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7273234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9"/>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7" y="6376996"/>
            <a:ext cx="9593887" cy="169277"/>
          </a:xfrm>
        </p:spPr>
        <p:txBody>
          <a:bodyPr/>
          <a:lstStyle>
            <a:lvl1pPr>
              <a:defRPr b="0"/>
            </a:lvl1pPr>
          </a:lstStyle>
          <a:p>
            <a:pPr>
              <a:tabLst>
                <a:tab pos="988989" algn="l"/>
              </a:tabLst>
            </a:pPr>
            <a:r>
              <a:rPr lang="en-US"/>
              <a:t>Extended Leadership Team Conference 2018</a:t>
            </a:r>
            <a:endParaRPr lang="fr-FR"/>
          </a:p>
        </p:txBody>
      </p:sp>
    </p:spTree>
    <p:extLst>
      <p:ext uri="{BB962C8B-B14F-4D97-AF65-F5344CB8AC3E}">
        <p14:creationId xmlns:p14="http://schemas.microsoft.com/office/powerpoint/2010/main" val="175053364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6" y="5"/>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431021" y="6053374"/>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6" y="1411821"/>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6" y="3467401"/>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371007187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440260" y="323986"/>
            <a:ext cx="4610853" cy="547109"/>
          </a:xfrm>
          <a:prstGeom prst="rect">
            <a:avLst/>
          </a:prstGeom>
        </p:spPr>
      </p:pic>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0" y="4388835"/>
            <a:ext cx="3745944" cy="800219"/>
          </a:xfrm>
        </p:spPr>
        <p:txBody>
          <a:bodyPr/>
          <a:lstStyle>
            <a:lvl1pPr>
              <a:spcAft>
                <a:spcPts val="0"/>
              </a:spcAft>
              <a:defRPr>
                <a:solidFill>
                  <a:schemeClr val="bg1"/>
                </a:solidFill>
              </a:defRPr>
            </a:lvl1pPr>
            <a:lvl2pPr>
              <a:defRPr>
                <a:solidFill>
                  <a:schemeClr val="bg1"/>
                </a:solidFill>
              </a:defRPr>
            </a:lvl2pPr>
          </a:lstStyle>
          <a:p>
            <a:pPr lvl="0"/>
            <a:r>
              <a:rPr lang="en-US"/>
              <a:t>Babson Executive Conference Centre</a:t>
            </a:r>
          </a:p>
          <a:p>
            <a:pPr lvl="1"/>
            <a:r>
              <a:rPr lang="en-US"/>
              <a:t>October 9 &amp; 10, 2018</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5"/>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2" name="TextBox 1"/>
          <p:cNvSpPr txBox="1"/>
          <p:nvPr userDrawn="1"/>
        </p:nvSpPr>
        <p:spPr bwMode="auto">
          <a:xfrm>
            <a:off x="440260" y="2001161"/>
            <a:ext cx="6219160" cy="6155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4000" b="0" kern="0">
                <a:solidFill>
                  <a:schemeClr val="bg1"/>
                </a:solidFill>
                <a:latin typeface="+mn-lt"/>
                <a:ea typeface="+mn-ea"/>
              </a:rPr>
              <a:t>Extended </a:t>
            </a:r>
            <a:r>
              <a:rPr lang="en-GB" sz="4000" b="1" kern="0">
                <a:solidFill>
                  <a:schemeClr val="bg1"/>
                </a:solidFill>
                <a:latin typeface="+mn-lt"/>
                <a:ea typeface="+mn-ea"/>
              </a:rPr>
              <a:t>ITLT </a:t>
            </a:r>
            <a:r>
              <a:rPr lang="en-GB" sz="4000" b="0" kern="0">
                <a:solidFill>
                  <a:schemeClr val="bg1"/>
                </a:solidFill>
                <a:latin typeface="+mn-lt"/>
                <a:ea typeface="+mn-ea"/>
              </a:rPr>
              <a:t>Conference</a:t>
            </a:r>
            <a:endParaRPr lang="en-GB" sz="4000" b="1" kern="0">
              <a:solidFill>
                <a:schemeClr val="bg1"/>
              </a:solidFill>
              <a:latin typeface="+mn-lt"/>
              <a:ea typeface="+mn-ea"/>
            </a:endParaRPr>
          </a:p>
        </p:txBody>
      </p:sp>
    </p:spTree>
    <p:extLst>
      <p:ext uri="{BB962C8B-B14F-4D97-AF65-F5344CB8AC3E}">
        <p14:creationId xmlns:p14="http://schemas.microsoft.com/office/powerpoint/2010/main" val="317430439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1"/>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1"/>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5"/>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5" name="Picture Placeholder 12"/>
          <p:cNvSpPr>
            <a:spLocks noGrp="1" noChangeAspect="1"/>
          </p:cNvSpPr>
          <p:nvPr>
            <p:ph type="pic" sz="quarter" idx="15" hasCustomPrompt="1"/>
          </p:nvPr>
        </p:nvSpPr>
        <p:spPr bwMode="gray">
          <a:xfrm rot="16200000">
            <a:off x="-137512" y="475144"/>
            <a:ext cx="537365" cy="26868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Tree>
    <p:extLst>
      <p:ext uri="{BB962C8B-B14F-4D97-AF65-F5344CB8AC3E}">
        <p14:creationId xmlns:p14="http://schemas.microsoft.com/office/powerpoint/2010/main" val="243028677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1"/>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1"/>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5"/>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Picture 10"/>
          <p:cNvPicPr>
            <a:picLocks noChangeAspect="1"/>
          </p:cNvPicPr>
          <p:nvPr userDrawn="1"/>
        </p:nvPicPr>
        <p:blipFill>
          <a:blip r:embed="rId4"/>
          <a:stretch>
            <a:fillRect/>
          </a:stretch>
        </p:blipFill>
        <p:spPr>
          <a:xfrm>
            <a:off x="-3172" y="340805"/>
            <a:ext cx="2063109" cy="610599"/>
          </a:xfrm>
          <a:prstGeom prst="rect">
            <a:avLst/>
          </a:prstGeom>
        </p:spPr>
      </p:pic>
    </p:spTree>
    <p:extLst>
      <p:ext uri="{BB962C8B-B14F-4D97-AF65-F5344CB8AC3E}">
        <p14:creationId xmlns:p14="http://schemas.microsoft.com/office/powerpoint/2010/main" val="235436342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1"/>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1"/>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5"/>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70" y="277367"/>
            <a:ext cx="1537609" cy="685355"/>
          </a:xfrm>
          <a:prstGeom prst="rect">
            <a:avLst/>
          </a:prstGeom>
        </p:spPr>
      </p:pic>
    </p:spTree>
    <p:extLst>
      <p:ext uri="{BB962C8B-B14F-4D97-AF65-F5344CB8AC3E}">
        <p14:creationId xmlns:p14="http://schemas.microsoft.com/office/powerpoint/2010/main" val="374703770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1"/>
            <a:ext cx="3365500"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0" y="277363"/>
            <a:ext cx="2315292" cy="685356"/>
          </a:xfrm>
          <a:prstGeom prst="rect">
            <a:avLst/>
          </a:prstGeom>
        </p:spPr>
      </p:pic>
      <p:pic>
        <p:nvPicPr>
          <p:cNvPr id="10" name="Graphic 10"/>
          <p:cNvPicPr>
            <a:picLocks noChangeAspect="1"/>
          </p:cNvPicPr>
          <p:nvPr userDrawn="1"/>
        </p:nvPicPr>
        <p:blipFill>
          <a:blip r:embed="rId4"/>
          <a:stretch>
            <a:fillRect/>
          </a:stretch>
        </p:blipFill>
        <p:spPr>
          <a:xfrm>
            <a:off x="423334" y="6024763"/>
            <a:ext cx="2688937" cy="468619"/>
          </a:xfrm>
          <a:prstGeom prst="rect">
            <a:avLst/>
          </a:prstGeom>
        </p:spPr>
      </p:pic>
    </p:spTree>
    <p:extLst>
      <p:ext uri="{BB962C8B-B14F-4D97-AF65-F5344CB8AC3E}">
        <p14:creationId xmlns:p14="http://schemas.microsoft.com/office/powerpoint/2010/main" val="375191889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5357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6"/>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612369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3245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48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1"/>
            <a:ext cx="3365500"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503128" y="6128287"/>
            <a:ext cx="1808992" cy="488191"/>
          </a:xfrm>
          <a:prstGeom prst="rect">
            <a:avLst/>
          </a:prstGeom>
        </p:spPr>
      </p:pic>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11851407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1"/>
            <a:ext cx="3365500"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pic>
        <p:nvPicPr>
          <p:cNvPr id="10" name="Picture 9"/>
          <p:cNvPicPr>
            <a:picLocks noChangeAspect="1"/>
          </p:cNvPicPr>
          <p:nvPr userDrawn="1"/>
        </p:nvPicPr>
        <p:blipFill>
          <a:blip r:embed="rId4"/>
          <a:stretch>
            <a:fillRect/>
          </a:stretch>
        </p:blipFill>
        <p:spPr>
          <a:xfrm>
            <a:off x="-3172" y="340805"/>
            <a:ext cx="2063109" cy="610599"/>
          </a:xfrm>
          <a:prstGeom prst="rect">
            <a:avLst/>
          </a:prstGeom>
        </p:spPr>
      </p:pic>
    </p:spTree>
    <p:extLst>
      <p:ext uri="{BB962C8B-B14F-4D97-AF65-F5344CB8AC3E}">
        <p14:creationId xmlns:p14="http://schemas.microsoft.com/office/powerpoint/2010/main" val="17897443"/>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6" y="6371172"/>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Tree>
    <p:extLst>
      <p:ext uri="{BB962C8B-B14F-4D97-AF65-F5344CB8AC3E}">
        <p14:creationId xmlns:p14="http://schemas.microsoft.com/office/powerpoint/2010/main" val="264713641"/>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Standard text">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1104000" y="828000"/>
            <a:ext cx="9984000" cy="512768"/>
          </a:xfrm>
          <a:prstGeom prst="rect">
            <a:avLst/>
          </a:prstGeom>
        </p:spPr>
        <p:txBody>
          <a:bodyPr lIns="0" tIns="0" rIns="0" bIns="0">
            <a:normAutofit/>
          </a:bodyPr>
          <a:lstStyle>
            <a:lvl1pPr marL="0" indent="0" algn="l">
              <a:spcBef>
                <a:spcPts val="0"/>
              </a:spcBef>
              <a:buFontTx/>
              <a:buNone/>
              <a:defRPr sz="2800" baseline="0">
                <a:solidFill>
                  <a:schemeClr val="tx1"/>
                </a:solidFill>
              </a:defRPr>
            </a:lvl1pPr>
          </a:lstStyle>
          <a:p>
            <a:pPr lvl="0"/>
            <a:r>
              <a:rPr lang="de-DE"/>
              <a:t>Click to add title</a:t>
            </a:r>
          </a:p>
        </p:txBody>
      </p:sp>
      <p:sp>
        <p:nvSpPr>
          <p:cNvPr id="4" name="Textplatzhalter 3"/>
          <p:cNvSpPr>
            <a:spLocks noGrp="1"/>
          </p:cNvSpPr>
          <p:nvPr>
            <p:ph type="body" sz="quarter" idx="12" hasCustomPrompt="1"/>
          </p:nvPr>
        </p:nvSpPr>
        <p:spPr>
          <a:xfrm>
            <a:off x="1104000" y="1368000"/>
            <a:ext cx="9984000" cy="338555"/>
          </a:xfrm>
          <a:prstGeom prst="rect">
            <a:avLst/>
          </a:prstGeom>
        </p:spPr>
        <p:txBody>
          <a:bodyPr lIns="0" tIns="0" rIns="0" bIns="0"/>
          <a:lstStyle>
            <a:lvl1pPr marL="0" indent="0">
              <a:spcBef>
                <a:spcPts val="0"/>
              </a:spcBef>
              <a:buFontTx/>
              <a:buNone/>
              <a:defRPr sz="2200"/>
            </a:lvl1pPr>
          </a:lstStyle>
          <a:p>
            <a:pPr lvl="0"/>
            <a:r>
              <a:rPr lang="de-DE"/>
              <a:t>Click </a:t>
            </a:r>
            <a:r>
              <a:rPr lang="de-DE" err="1"/>
              <a:t>to</a:t>
            </a:r>
            <a:r>
              <a:rPr lang="de-DE"/>
              <a:t> </a:t>
            </a:r>
            <a:r>
              <a:rPr lang="de-DE" err="1"/>
              <a:t>add</a:t>
            </a:r>
            <a:r>
              <a:rPr lang="de-DE"/>
              <a:t> </a:t>
            </a:r>
            <a:r>
              <a:rPr lang="de-DE" err="1"/>
              <a:t>subtitle</a:t>
            </a:r>
            <a:endParaRPr lang="de-DE"/>
          </a:p>
        </p:txBody>
      </p:sp>
      <p:sp>
        <p:nvSpPr>
          <p:cNvPr id="5" name="Textplatzhalter 4"/>
          <p:cNvSpPr>
            <a:spLocks noGrp="1"/>
          </p:cNvSpPr>
          <p:nvPr>
            <p:ph type="body" sz="quarter" idx="13"/>
          </p:nvPr>
        </p:nvSpPr>
        <p:spPr>
          <a:xfrm>
            <a:off x="1104897" y="2124001"/>
            <a:ext cx="9984000" cy="2000548"/>
          </a:xfrm>
          <a:prstGeom prst="rect">
            <a:avLst/>
          </a:prstGeom>
        </p:spPr>
        <p:txBody>
          <a:bodyPr lIns="0" tIns="0" rIns="0" bIns="0" spcCol="432000"/>
          <a:lstStyle>
            <a:lvl1pPr marL="215995" indent="-215995">
              <a:spcBef>
                <a:spcPts val="0"/>
              </a:spcBef>
              <a:defRPr sz="1800"/>
            </a:lvl1pPr>
            <a:lvl2pPr marL="431989" indent="-215995">
              <a:spcBef>
                <a:spcPts val="0"/>
              </a:spcBef>
              <a:defRPr sz="1800"/>
            </a:lvl2pPr>
            <a:lvl3pPr marL="647984" indent="-215995">
              <a:spcBef>
                <a:spcPts val="0"/>
              </a:spcBef>
              <a:buFont typeface="Wingdings" panose="05000000000000000000" pitchFamily="2" charset="2"/>
              <a:buChar char="§"/>
              <a:defRPr sz="1800"/>
            </a:lvl3pPr>
            <a:lvl4pPr marL="863978" indent="-215995">
              <a:spcBef>
                <a:spcPts val="0"/>
              </a:spcBef>
              <a:buFont typeface="Arial" panose="020B0604020202020204" pitchFamily="34" charset="0"/>
              <a:buChar char="•"/>
              <a:defRPr sz="1800"/>
            </a:lvl4pPr>
            <a:lvl5pPr marL="1079973" indent="-228594">
              <a:spcBef>
                <a:spcPts val="0"/>
              </a:spcBef>
              <a:buFont typeface="Calibri" panose="020F0502020204030204" pitchFamily="34" charset="0"/>
              <a:buChar char="─"/>
              <a:defRPr sz="1800"/>
            </a:lvl5pPr>
            <a:lvl6pPr marL="1295968" indent="-228594">
              <a:spcBef>
                <a:spcPts val="0"/>
              </a:spcBef>
              <a:buFont typeface="Calibri" panose="020F0502020204030204" pitchFamily="34" charset="0"/>
              <a:buChar char="─"/>
              <a:defRPr sz="1800"/>
            </a:lvl6pPr>
            <a:lvl7pPr marL="1511962" indent="-215995">
              <a:spcBef>
                <a:spcPts val="0"/>
              </a:spcBef>
              <a:buFont typeface="Calibri" panose="020F0502020204030204" pitchFamily="34" charset="0"/>
              <a:buChar char="─"/>
              <a:defRPr sz="1800"/>
            </a:lvl7pPr>
            <a:lvl8pPr marL="1727957" indent="-215995">
              <a:spcBef>
                <a:spcPts val="0"/>
              </a:spcBef>
              <a:buFont typeface="Calibri" panose="020F0502020204030204" pitchFamily="34" charset="0"/>
              <a:buChar char="─"/>
              <a:defRPr sz="1800"/>
            </a:lvl8pPr>
            <a:lvl9pPr marL="1943951" indent="-215995">
              <a:spcBef>
                <a:spcPts val="0"/>
              </a:spcBef>
              <a:buFont typeface="Calibri" panose="020F0502020204030204" pitchFamily="34" charset="0"/>
              <a:buChar cha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25425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47267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847802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969280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220211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51618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7"/>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2076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18111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266666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578257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546248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843631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75871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34930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64782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19916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3460159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0258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36367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5798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092904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069127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3555366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79503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015073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74322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8"/>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815446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72258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6"/>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417490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0070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404935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874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685434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133705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3552560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72826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46926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64610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091546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56921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5096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57136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3454365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05388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996392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12530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511271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77017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327728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12637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35277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22528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49142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53644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111990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12791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0449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56292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93963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53844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5097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34093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056745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74183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936514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25882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894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48185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116167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59206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1818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71682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161694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4798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500545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23944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294522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20701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930031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188829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298304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63866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7450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180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726306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01251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18927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00323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6138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42213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8351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95914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418352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01835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4015800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301852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200323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15420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01445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17383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491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7457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875558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94279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582669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5517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904657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014562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436008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61885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8977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87662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1099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24189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30412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1"/>
            </p:custDataLst>
            <p:extLst>
              <p:ext uri="{D42A27DB-BD31-4B8C-83A1-F6EECF244321}">
                <p14:modId xmlns:p14="http://schemas.microsoft.com/office/powerpoint/2010/main" val="181226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1565131983"/>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71893205"/>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62615920"/>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57784745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08228979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65158651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50653619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40947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6983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615809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239007881"/>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191151766"/>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046377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5287470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1048315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2216767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43956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8"/>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283258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4279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6"/>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339999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2190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194988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24485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144023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04039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815400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7368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970722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98134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61628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651204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941178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32271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3663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3201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702728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55433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977364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3500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93953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971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25820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7377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49814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tags" Target="../tags/tag2.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oleObject" Target="../embeddings/oleObject1.bin"/><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tags" Target="../tags/tag1.xml"/><Relationship Id="rId9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9" Type="http://schemas.openxmlformats.org/officeDocument/2006/relationships/slideLayout" Target="../slideLayouts/slideLayout125.xml"/><Relationship Id="rId21" Type="http://schemas.openxmlformats.org/officeDocument/2006/relationships/slideLayout" Target="../slideLayouts/slideLayout107.xml"/><Relationship Id="rId34" Type="http://schemas.openxmlformats.org/officeDocument/2006/relationships/slideLayout" Target="../slideLayouts/slideLayout120.xml"/><Relationship Id="rId42" Type="http://schemas.openxmlformats.org/officeDocument/2006/relationships/slideLayout" Target="../slideLayouts/slideLayout128.xml"/><Relationship Id="rId47" Type="http://schemas.openxmlformats.org/officeDocument/2006/relationships/slideLayout" Target="../slideLayouts/slideLayout133.xml"/><Relationship Id="rId50" Type="http://schemas.openxmlformats.org/officeDocument/2006/relationships/slideLayout" Target="../slideLayouts/slideLayout136.xml"/><Relationship Id="rId55" Type="http://schemas.openxmlformats.org/officeDocument/2006/relationships/slideLayout" Target="../slideLayouts/slideLayout141.xml"/><Relationship Id="rId63" Type="http://schemas.openxmlformats.org/officeDocument/2006/relationships/slideLayout" Target="../slideLayouts/slideLayout149.xml"/><Relationship Id="rId68" Type="http://schemas.openxmlformats.org/officeDocument/2006/relationships/slideLayout" Target="../slideLayouts/slideLayout154.xml"/><Relationship Id="rId76" Type="http://schemas.openxmlformats.org/officeDocument/2006/relationships/slideLayout" Target="../slideLayouts/slideLayout162.xml"/><Relationship Id="rId84" Type="http://schemas.openxmlformats.org/officeDocument/2006/relationships/slideLayout" Target="../slideLayouts/slideLayout170.xml"/><Relationship Id="rId89" Type="http://schemas.openxmlformats.org/officeDocument/2006/relationships/tags" Target="../tags/tag117.xml"/><Relationship Id="rId7" Type="http://schemas.openxmlformats.org/officeDocument/2006/relationships/slideLayout" Target="../slideLayouts/slideLayout93.xml"/><Relationship Id="rId71" Type="http://schemas.openxmlformats.org/officeDocument/2006/relationships/slideLayout" Target="../slideLayouts/slideLayout157.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9" Type="http://schemas.openxmlformats.org/officeDocument/2006/relationships/slideLayout" Target="../slideLayouts/slideLayout115.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40" Type="http://schemas.openxmlformats.org/officeDocument/2006/relationships/slideLayout" Target="../slideLayouts/slideLayout126.xml"/><Relationship Id="rId45" Type="http://schemas.openxmlformats.org/officeDocument/2006/relationships/slideLayout" Target="../slideLayouts/slideLayout131.xml"/><Relationship Id="rId53" Type="http://schemas.openxmlformats.org/officeDocument/2006/relationships/slideLayout" Target="../slideLayouts/slideLayout139.xml"/><Relationship Id="rId58" Type="http://schemas.openxmlformats.org/officeDocument/2006/relationships/slideLayout" Target="../slideLayouts/slideLayout144.xml"/><Relationship Id="rId66" Type="http://schemas.openxmlformats.org/officeDocument/2006/relationships/slideLayout" Target="../slideLayouts/slideLayout152.xml"/><Relationship Id="rId74" Type="http://schemas.openxmlformats.org/officeDocument/2006/relationships/slideLayout" Target="../slideLayouts/slideLayout160.xml"/><Relationship Id="rId79" Type="http://schemas.openxmlformats.org/officeDocument/2006/relationships/slideLayout" Target="../slideLayouts/slideLayout165.xml"/><Relationship Id="rId87" Type="http://schemas.openxmlformats.org/officeDocument/2006/relationships/theme" Target="../theme/theme2.xml"/><Relationship Id="rId5" Type="http://schemas.openxmlformats.org/officeDocument/2006/relationships/slideLayout" Target="../slideLayouts/slideLayout91.xml"/><Relationship Id="rId61" Type="http://schemas.openxmlformats.org/officeDocument/2006/relationships/slideLayout" Target="../slideLayouts/slideLayout147.xml"/><Relationship Id="rId82" Type="http://schemas.openxmlformats.org/officeDocument/2006/relationships/slideLayout" Target="../slideLayouts/slideLayout168.xml"/><Relationship Id="rId90" Type="http://schemas.openxmlformats.org/officeDocument/2006/relationships/oleObject" Target="../embeddings/oleObject75.bin"/><Relationship Id="rId19" Type="http://schemas.openxmlformats.org/officeDocument/2006/relationships/slideLayout" Target="../slideLayouts/slideLayout10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43" Type="http://schemas.openxmlformats.org/officeDocument/2006/relationships/slideLayout" Target="../slideLayouts/slideLayout129.xml"/><Relationship Id="rId48" Type="http://schemas.openxmlformats.org/officeDocument/2006/relationships/slideLayout" Target="../slideLayouts/slideLayout134.xml"/><Relationship Id="rId56" Type="http://schemas.openxmlformats.org/officeDocument/2006/relationships/slideLayout" Target="../slideLayouts/slideLayout142.xml"/><Relationship Id="rId64" Type="http://schemas.openxmlformats.org/officeDocument/2006/relationships/slideLayout" Target="../slideLayouts/slideLayout150.xml"/><Relationship Id="rId69" Type="http://schemas.openxmlformats.org/officeDocument/2006/relationships/slideLayout" Target="../slideLayouts/slideLayout155.xml"/><Relationship Id="rId77" Type="http://schemas.openxmlformats.org/officeDocument/2006/relationships/slideLayout" Target="../slideLayouts/slideLayout163.xml"/><Relationship Id="rId8" Type="http://schemas.openxmlformats.org/officeDocument/2006/relationships/slideLayout" Target="../slideLayouts/slideLayout94.xml"/><Relationship Id="rId51" Type="http://schemas.openxmlformats.org/officeDocument/2006/relationships/slideLayout" Target="../slideLayouts/slideLayout137.xml"/><Relationship Id="rId72" Type="http://schemas.openxmlformats.org/officeDocument/2006/relationships/slideLayout" Target="../slideLayouts/slideLayout158.xml"/><Relationship Id="rId80" Type="http://schemas.openxmlformats.org/officeDocument/2006/relationships/slideLayout" Target="../slideLayouts/slideLayout166.xml"/><Relationship Id="rId85" Type="http://schemas.openxmlformats.org/officeDocument/2006/relationships/slideLayout" Target="../slideLayouts/slideLayout171.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 Id="rId46" Type="http://schemas.openxmlformats.org/officeDocument/2006/relationships/slideLayout" Target="../slideLayouts/slideLayout132.xml"/><Relationship Id="rId59" Type="http://schemas.openxmlformats.org/officeDocument/2006/relationships/slideLayout" Target="../slideLayouts/slideLayout145.xml"/><Relationship Id="rId67" Type="http://schemas.openxmlformats.org/officeDocument/2006/relationships/slideLayout" Target="../slideLayouts/slideLayout153.xml"/><Relationship Id="rId20" Type="http://schemas.openxmlformats.org/officeDocument/2006/relationships/slideLayout" Target="../slideLayouts/slideLayout106.xml"/><Relationship Id="rId41" Type="http://schemas.openxmlformats.org/officeDocument/2006/relationships/slideLayout" Target="../slideLayouts/slideLayout127.xml"/><Relationship Id="rId54" Type="http://schemas.openxmlformats.org/officeDocument/2006/relationships/slideLayout" Target="../slideLayouts/slideLayout140.xml"/><Relationship Id="rId62" Type="http://schemas.openxmlformats.org/officeDocument/2006/relationships/slideLayout" Target="../slideLayouts/slideLayout148.xml"/><Relationship Id="rId70" Type="http://schemas.openxmlformats.org/officeDocument/2006/relationships/slideLayout" Target="../slideLayouts/slideLayout156.xml"/><Relationship Id="rId75" Type="http://schemas.openxmlformats.org/officeDocument/2006/relationships/slideLayout" Target="../slideLayouts/slideLayout161.xml"/><Relationship Id="rId83" Type="http://schemas.openxmlformats.org/officeDocument/2006/relationships/slideLayout" Target="../slideLayouts/slideLayout169.xml"/><Relationship Id="rId88" Type="http://schemas.openxmlformats.org/officeDocument/2006/relationships/tags" Target="../tags/tag116.xml"/><Relationship Id="rId91" Type="http://schemas.openxmlformats.org/officeDocument/2006/relationships/image" Target="../media/image1.emf"/><Relationship Id="rId1" Type="http://schemas.openxmlformats.org/officeDocument/2006/relationships/slideLayout" Target="../slideLayouts/slideLayout87.xml"/><Relationship Id="rId6" Type="http://schemas.openxmlformats.org/officeDocument/2006/relationships/slideLayout" Target="../slideLayouts/slideLayout92.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49" Type="http://schemas.openxmlformats.org/officeDocument/2006/relationships/slideLayout" Target="../slideLayouts/slideLayout135.xml"/><Relationship Id="rId57" Type="http://schemas.openxmlformats.org/officeDocument/2006/relationships/slideLayout" Target="../slideLayouts/slideLayout143.xml"/><Relationship Id="rId10" Type="http://schemas.openxmlformats.org/officeDocument/2006/relationships/slideLayout" Target="../slideLayouts/slideLayout96.xml"/><Relationship Id="rId31" Type="http://schemas.openxmlformats.org/officeDocument/2006/relationships/slideLayout" Target="../slideLayouts/slideLayout117.xml"/><Relationship Id="rId44" Type="http://schemas.openxmlformats.org/officeDocument/2006/relationships/slideLayout" Target="../slideLayouts/slideLayout130.xml"/><Relationship Id="rId52" Type="http://schemas.openxmlformats.org/officeDocument/2006/relationships/slideLayout" Target="../slideLayouts/slideLayout138.xml"/><Relationship Id="rId60" Type="http://schemas.openxmlformats.org/officeDocument/2006/relationships/slideLayout" Target="../slideLayouts/slideLayout146.xml"/><Relationship Id="rId65" Type="http://schemas.openxmlformats.org/officeDocument/2006/relationships/slideLayout" Target="../slideLayouts/slideLayout151.xml"/><Relationship Id="rId73" Type="http://schemas.openxmlformats.org/officeDocument/2006/relationships/slideLayout" Target="../slideLayouts/slideLayout159.xml"/><Relationship Id="rId78" Type="http://schemas.openxmlformats.org/officeDocument/2006/relationships/slideLayout" Target="../slideLayouts/slideLayout164.xml"/><Relationship Id="rId81" Type="http://schemas.openxmlformats.org/officeDocument/2006/relationships/slideLayout" Target="../slideLayouts/slideLayout167.xml"/><Relationship Id="rId86" Type="http://schemas.openxmlformats.org/officeDocument/2006/relationships/slideLayout" Target="../slideLayouts/slideLayout172.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theme" Target="../theme/theme3.xml"/><Relationship Id="rId3" Type="http://schemas.openxmlformats.org/officeDocument/2006/relationships/slideLayout" Target="../slideLayouts/slideLayout175.xml"/><Relationship Id="rId21" Type="http://schemas.openxmlformats.org/officeDocument/2006/relationships/oleObject" Target="../embeddings/oleObject149.bin"/><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tags" Target="../tags/tag232.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10" Type="http://schemas.openxmlformats.org/officeDocument/2006/relationships/slideLayout" Target="../slideLayouts/slideLayout182.xml"/><Relationship Id="rId19" Type="http://schemas.openxmlformats.org/officeDocument/2006/relationships/tags" Target="../tags/tag231.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image" Target="../media/image18.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3" Type="http://schemas.openxmlformats.org/officeDocument/2006/relationships/slideLayout" Target="../slideLayouts/slideLayout192.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2" Type="http://schemas.openxmlformats.org/officeDocument/2006/relationships/slideLayout" Target="../slideLayouts/slideLayout191.xml"/><Relationship Id="rId16" Type="http://schemas.openxmlformats.org/officeDocument/2006/relationships/image" Target="../media/image27.jpeg"/><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theme" Target="../theme/theme4.xml"/><Relationship Id="rId10" Type="http://schemas.openxmlformats.org/officeDocument/2006/relationships/slideLayout" Target="../slideLayouts/slideLayout199.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8"/>
            </p:custDataLst>
            <p:extLst>
              <p:ext uri="{D42A27DB-BD31-4B8C-83A1-F6EECF244321}">
                <p14:modId xmlns:p14="http://schemas.microsoft.com/office/powerpoint/2010/main" val="2233879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0" imgW="270" imgH="270" progId="TCLayout.ActiveDocument.1">
                  <p:embed/>
                </p:oleObj>
              </mc:Choice>
              <mc:Fallback>
                <p:oleObj name="think-cell Slide" r:id="rId90" imgW="270" imgH="270" progId="TCLayout.ActiveDocument.1">
                  <p:embed/>
                  <p:pic>
                    <p:nvPicPr>
                      <p:cNvPr id="2" name="Object 1" hidden="1"/>
                      <p:cNvPicPr/>
                      <p:nvPr/>
                    </p:nvPicPr>
                    <p:blipFill>
                      <a:blip r:embed="rId9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9"/>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7440545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8"/>
            </p:custDataLst>
            <p:extLst>
              <p:ext uri="{D42A27DB-BD31-4B8C-83A1-F6EECF244321}">
                <p14:modId xmlns:p14="http://schemas.microsoft.com/office/powerpoint/2010/main" val="557801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0" imgW="270" imgH="270" progId="TCLayout.ActiveDocument.1">
                  <p:embed/>
                </p:oleObj>
              </mc:Choice>
              <mc:Fallback>
                <p:oleObj name="think-cell Slide" r:id="rId90" imgW="270" imgH="270" progId="TCLayout.ActiveDocument.1">
                  <p:embed/>
                  <p:pic>
                    <p:nvPicPr>
                      <p:cNvPr id="2" name="Object 1" hidden="1"/>
                      <p:cNvPicPr/>
                      <p:nvPr/>
                    </p:nvPicPr>
                    <p:blipFill>
                      <a:blip r:embed="rId9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9"/>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95152984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 id="2147483783" r:id="rId36"/>
    <p:sldLayoutId id="2147483784" r:id="rId37"/>
    <p:sldLayoutId id="2147483785" r:id="rId38"/>
    <p:sldLayoutId id="2147483786" r:id="rId39"/>
    <p:sldLayoutId id="2147483787" r:id="rId40"/>
    <p:sldLayoutId id="2147483788" r:id="rId41"/>
    <p:sldLayoutId id="2147483789" r:id="rId42"/>
    <p:sldLayoutId id="2147483790" r:id="rId43"/>
    <p:sldLayoutId id="2147483791" r:id="rId44"/>
    <p:sldLayoutId id="2147483792" r:id="rId45"/>
    <p:sldLayoutId id="2147483793" r:id="rId46"/>
    <p:sldLayoutId id="2147483794" r:id="rId47"/>
    <p:sldLayoutId id="2147483795" r:id="rId48"/>
    <p:sldLayoutId id="2147483796" r:id="rId49"/>
    <p:sldLayoutId id="2147483797" r:id="rId50"/>
    <p:sldLayoutId id="2147483798" r:id="rId51"/>
    <p:sldLayoutId id="2147483799" r:id="rId52"/>
    <p:sldLayoutId id="2147483800" r:id="rId53"/>
    <p:sldLayoutId id="2147483801" r:id="rId54"/>
    <p:sldLayoutId id="2147483802" r:id="rId55"/>
    <p:sldLayoutId id="2147483803" r:id="rId56"/>
    <p:sldLayoutId id="2147483804" r:id="rId57"/>
    <p:sldLayoutId id="2147483805" r:id="rId58"/>
    <p:sldLayoutId id="2147483806" r:id="rId59"/>
    <p:sldLayoutId id="2147483807" r:id="rId60"/>
    <p:sldLayoutId id="2147483808" r:id="rId61"/>
    <p:sldLayoutId id="2147483809" r:id="rId62"/>
    <p:sldLayoutId id="2147483810" r:id="rId63"/>
    <p:sldLayoutId id="2147483811" r:id="rId64"/>
    <p:sldLayoutId id="2147483812" r:id="rId65"/>
    <p:sldLayoutId id="2147483813" r:id="rId66"/>
    <p:sldLayoutId id="2147483814" r:id="rId67"/>
    <p:sldLayoutId id="2147483815" r:id="rId68"/>
    <p:sldLayoutId id="2147483816" r:id="rId69"/>
    <p:sldLayoutId id="2147483817" r:id="rId70"/>
    <p:sldLayoutId id="2147483818" r:id="rId71"/>
    <p:sldLayoutId id="2147483819" r:id="rId72"/>
    <p:sldLayoutId id="2147483820" r:id="rId73"/>
    <p:sldLayoutId id="2147483821" r:id="rId74"/>
    <p:sldLayoutId id="2147483822" r:id="rId75"/>
    <p:sldLayoutId id="2147483823" r:id="rId76"/>
    <p:sldLayoutId id="2147483824" r:id="rId77"/>
    <p:sldLayoutId id="2147483825" r:id="rId78"/>
    <p:sldLayoutId id="2147483826" r:id="rId79"/>
    <p:sldLayoutId id="2147483827" r:id="rId80"/>
    <p:sldLayoutId id="2147483828" r:id="rId81"/>
    <p:sldLayoutId id="2147483829" r:id="rId82"/>
    <p:sldLayoutId id="2147483830" r:id="rId83"/>
    <p:sldLayoutId id="2147483831" r:id="rId84"/>
    <p:sldLayoutId id="2147483832" r:id="rId85"/>
    <p:sldLayoutId id="2147483833"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269DD4-FF39-4571-A3F6-322619DB5847}"/>
              </a:ext>
            </a:extLst>
          </p:cNvPr>
          <p:cNvGraphicFramePr>
            <a:graphicFrameLocks noChangeAspect="1"/>
          </p:cNvGraphicFramePr>
          <p:nvPr userDrawn="1">
            <p:custDataLst>
              <p:tags r:id="rId19"/>
            </p:custDataLst>
            <p:extLst>
              <p:ext uri="{D42A27DB-BD31-4B8C-83A1-F6EECF244321}">
                <p14:modId xmlns:p14="http://schemas.microsoft.com/office/powerpoint/2010/main" val="1599190280"/>
              </p:ext>
            </p:extLst>
          </p:nvPr>
        </p:nvGraphicFramePr>
        <p:xfrm>
          <a:off x="2826" y="1588"/>
          <a:ext cx="2823" cy="1588"/>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4" name="Object 3" hidden="1">
                        <a:extLst>
                          <a:ext uri="{FF2B5EF4-FFF2-40B4-BE49-F238E27FC236}">
                            <a16:creationId xmlns:a16="http://schemas.microsoft.com/office/drawing/2014/main" id="{19269DD4-FF39-4571-A3F6-322619DB5847}"/>
                          </a:ext>
                        </a:extLst>
                      </p:cNvPr>
                      <p:cNvPicPr/>
                      <p:nvPr/>
                    </p:nvPicPr>
                    <p:blipFill>
                      <a:blip r:embed="rId22"/>
                      <a:stretch>
                        <a:fillRect/>
                      </a:stretch>
                    </p:blipFill>
                    <p:spPr>
                      <a:xfrm>
                        <a:off x="2826" y="1588"/>
                        <a:ext cx="2823"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53D0E3-58E0-4E90-B1D1-924C6E8A8AA8}"/>
              </a:ext>
            </a:extLst>
          </p:cNvPr>
          <p:cNvSpPr/>
          <p:nvPr userDrawn="1">
            <p:custDataLst>
              <p:tags r:id="rId20"/>
            </p:custDataLst>
          </p:nvPr>
        </p:nvSpPr>
        <p:spPr bwMode="auto">
          <a:xfrm>
            <a:off x="2" y="0"/>
            <a:ext cx="282223"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a:spcAft>
                <a:spcPts val="338"/>
              </a:spcAft>
            </a:pPr>
            <a:endParaRPr lang="en-US" sz="1800" b="1" i="0" baseline="0">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32790" name="Rectangle 5"/>
          <p:cNvSpPr>
            <a:spLocks noGrp="1" noChangeArrowheads="1"/>
          </p:cNvSpPr>
          <p:nvPr>
            <p:ph type="title"/>
          </p:nvPr>
        </p:nvSpPr>
        <p:spPr bwMode="auto">
          <a:xfrm>
            <a:off x="767649" y="361387"/>
            <a:ext cx="1472071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767649" y="1412483"/>
            <a:ext cx="14720711" cy="2700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4529138" y="6394373"/>
            <a:ext cx="949836" cy="126958"/>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25" smtClean="0">
                <a:solidFill>
                  <a:schemeClr val="accent1"/>
                </a:solidFill>
              </a:rPr>
              <a:pPr/>
              <a:t>‹#›</a:t>
            </a:fld>
            <a:endParaRPr lang="en-GB" sz="825">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2389081" y="6394373"/>
            <a:ext cx="11640187" cy="126958"/>
          </a:xfrm>
          <a:prstGeom prst="rect">
            <a:avLst/>
          </a:prstGeom>
        </p:spPr>
        <p:txBody>
          <a:bodyPr wrap="square" lIns="0" tIns="0" rIns="0" bIns="0" anchor="b">
            <a:spAutoFit/>
          </a:bodyPr>
          <a:lstStyle>
            <a:lvl1pPr algn="l">
              <a:defRPr lang="en-GB" sz="825" b="0" dirty="0">
                <a:solidFill>
                  <a:schemeClr val="accent1"/>
                </a:solidFill>
                <a:latin typeface="+mn-lt"/>
                <a:ea typeface="+mn-ea"/>
              </a:defRPr>
            </a:lvl1pPr>
          </a:lstStyle>
          <a:p>
            <a:pPr>
              <a:tabLst>
                <a:tab pos="741760"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767647" y="6394373"/>
            <a:ext cx="1621436" cy="126958"/>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741760" algn="l"/>
              </a:tabLst>
            </a:pPr>
            <a:r>
              <a:rPr lang="fr-FR" sz="825" b="1"/>
              <a:t>National Grid </a:t>
            </a:r>
          </a:p>
        </p:txBody>
      </p:sp>
    </p:spTree>
    <p:extLst>
      <p:ext uri="{BB962C8B-B14F-4D97-AF65-F5344CB8AC3E}">
        <p14:creationId xmlns:p14="http://schemas.microsoft.com/office/powerpoint/2010/main" val="860845508"/>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Lst>
  <p:transition>
    <p:fade/>
  </p:transition>
  <p:hf sldNum="0" hdr="0" dt="0"/>
  <p:txStyles>
    <p:titleStyle>
      <a:lvl1pPr algn="l" rtl="0" eaLnBrk="1" fontAlgn="base" hangingPunct="1">
        <a:spcBef>
          <a:spcPct val="0"/>
        </a:spcBef>
        <a:spcAft>
          <a:spcPct val="0"/>
        </a:spcAft>
        <a:defRPr sz="1800" b="1">
          <a:solidFill>
            <a:schemeClr val="accent1"/>
          </a:solidFill>
          <a:latin typeface="+mj-lt"/>
          <a:ea typeface="+mj-ea"/>
          <a:cs typeface="+mj-cs"/>
        </a:defRPr>
      </a:lvl1pPr>
      <a:lvl2pPr algn="l" rtl="0" eaLnBrk="1" fontAlgn="base" hangingPunct="1">
        <a:spcBef>
          <a:spcPct val="0"/>
        </a:spcBef>
        <a:spcAft>
          <a:spcPct val="0"/>
        </a:spcAft>
        <a:defRPr sz="1575" b="1">
          <a:solidFill>
            <a:srgbClr val="0079C1"/>
          </a:solidFill>
          <a:latin typeface="Arial" charset="0"/>
          <a:ea typeface="ＭＳ Ｐゴシック" pitchFamily="48" charset="-128"/>
        </a:defRPr>
      </a:lvl2pPr>
      <a:lvl3pPr algn="l" rtl="0" eaLnBrk="1" fontAlgn="base" hangingPunct="1">
        <a:spcBef>
          <a:spcPct val="0"/>
        </a:spcBef>
        <a:spcAft>
          <a:spcPct val="0"/>
        </a:spcAft>
        <a:defRPr sz="1575" b="1">
          <a:solidFill>
            <a:srgbClr val="0079C1"/>
          </a:solidFill>
          <a:latin typeface="Arial" charset="0"/>
          <a:ea typeface="ＭＳ Ｐゴシック" pitchFamily="48" charset="-128"/>
        </a:defRPr>
      </a:lvl3pPr>
      <a:lvl4pPr algn="l" rtl="0" eaLnBrk="1" fontAlgn="base" hangingPunct="1">
        <a:spcBef>
          <a:spcPct val="0"/>
        </a:spcBef>
        <a:spcAft>
          <a:spcPct val="0"/>
        </a:spcAft>
        <a:defRPr sz="1575" b="1">
          <a:solidFill>
            <a:srgbClr val="0079C1"/>
          </a:solidFill>
          <a:latin typeface="Arial" charset="0"/>
          <a:ea typeface="ＭＳ Ｐゴシック" pitchFamily="48" charset="-128"/>
        </a:defRPr>
      </a:lvl4pPr>
      <a:lvl5pPr algn="l" rtl="0" eaLnBrk="1" fontAlgn="base" hangingPunct="1">
        <a:spcBef>
          <a:spcPct val="0"/>
        </a:spcBef>
        <a:spcAft>
          <a:spcPct val="0"/>
        </a:spcAft>
        <a:defRPr sz="1575" b="1">
          <a:solidFill>
            <a:srgbClr val="0079C1"/>
          </a:solidFill>
          <a:latin typeface="Arial" charset="0"/>
          <a:ea typeface="ＭＳ Ｐゴシック" pitchFamily="48" charset="-128"/>
        </a:defRPr>
      </a:lvl5pPr>
      <a:lvl6pPr marL="257150" algn="l" rtl="0" eaLnBrk="1" fontAlgn="base" hangingPunct="1">
        <a:spcBef>
          <a:spcPct val="0"/>
        </a:spcBef>
        <a:spcAft>
          <a:spcPct val="0"/>
        </a:spcAft>
        <a:defRPr sz="1575" b="1">
          <a:solidFill>
            <a:srgbClr val="0079C1"/>
          </a:solidFill>
          <a:latin typeface="Arial" charset="0"/>
          <a:ea typeface="ＭＳ Ｐゴシック" pitchFamily="48" charset="-128"/>
        </a:defRPr>
      </a:lvl6pPr>
      <a:lvl7pPr marL="514299" algn="l" rtl="0" eaLnBrk="1" fontAlgn="base" hangingPunct="1">
        <a:spcBef>
          <a:spcPct val="0"/>
        </a:spcBef>
        <a:spcAft>
          <a:spcPct val="0"/>
        </a:spcAft>
        <a:defRPr sz="1575" b="1">
          <a:solidFill>
            <a:srgbClr val="0079C1"/>
          </a:solidFill>
          <a:latin typeface="Arial" charset="0"/>
          <a:ea typeface="ＭＳ Ｐゴシック" pitchFamily="48" charset="-128"/>
        </a:defRPr>
      </a:lvl7pPr>
      <a:lvl8pPr marL="771449" algn="l" rtl="0" eaLnBrk="1" fontAlgn="base" hangingPunct="1">
        <a:spcBef>
          <a:spcPct val="0"/>
        </a:spcBef>
        <a:spcAft>
          <a:spcPct val="0"/>
        </a:spcAft>
        <a:defRPr sz="1575" b="1">
          <a:solidFill>
            <a:srgbClr val="0079C1"/>
          </a:solidFill>
          <a:latin typeface="Arial" charset="0"/>
          <a:ea typeface="ＭＳ Ｐゴシック" pitchFamily="48" charset="-128"/>
        </a:defRPr>
      </a:lvl8pPr>
      <a:lvl9pPr marL="1028598" algn="l" rtl="0" eaLnBrk="1" fontAlgn="base" hangingPunct="1">
        <a:spcBef>
          <a:spcPct val="0"/>
        </a:spcBef>
        <a:spcAft>
          <a:spcPct val="0"/>
        </a:spcAft>
        <a:defRPr sz="1575"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900"/>
        </a:spcAft>
        <a:buClr>
          <a:schemeClr val="tx1"/>
        </a:buClr>
        <a:buFontTx/>
        <a:buNone/>
        <a:defRPr sz="1350" b="1">
          <a:solidFill>
            <a:schemeClr val="accent1"/>
          </a:solidFill>
          <a:latin typeface="+mn-lt"/>
          <a:ea typeface="+mn-ea"/>
          <a:cs typeface="+mn-cs"/>
        </a:defRPr>
      </a:lvl1pPr>
      <a:lvl2pPr marL="0" indent="0" algn="l" rtl="0" eaLnBrk="1" fontAlgn="base" hangingPunct="1">
        <a:spcBef>
          <a:spcPct val="0"/>
        </a:spcBef>
        <a:spcAft>
          <a:spcPts val="900"/>
        </a:spcAft>
        <a:buClr>
          <a:schemeClr val="tx1"/>
        </a:buClr>
        <a:buFontTx/>
        <a:buNone/>
        <a:defRPr sz="1200">
          <a:solidFill>
            <a:schemeClr val="tx1"/>
          </a:solidFill>
          <a:latin typeface="+mn-lt"/>
          <a:ea typeface="+mn-ea"/>
        </a:defRPr>
      </a:lvl2pPr>
      <a:lvl3pPr marL="2025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3pPr>
      <a:lvl4pPr marL="4050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4pPr>
      <a:lvl5pPr marL="6075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5pPr>
      <a:lvl6pPr marL="0" indent="-202500" algn="l" rtl="0" eaLnBrk="1" fontAlgn="base" hangingPunct="1">
        <a:spcBef>
          <a:spcPct val="0"/>
        </a:spcBef>
        <a:spcAft>
          <a:spcPts val="900"/>
        </a:spcAft>
        <a:buClr>
          <a:schemeClr val="accent1"/>
        </a:buClr>
        <a:buFont typeface="+mj-lt"/>
        <a:buAutoNum type="arabicPeriod"/>
        <a:defRPr sz="1200">
          <a:solidFill>
            <a:schemeClr val="tx1"/>
          </a:solidFill>
          <a:latin typeface="+mn-lt"/>
          <a:ea typeface="+mn-ea"/>
        </a:defRPr>
      </a:lvl6pPr>
      <a:lvl7pPr marL="405000" indent="-202500" algn="l" rtl="0" eaLnBrk="1" fontAlgn="base" hangingPunct="1">
        <a:spcBef>
          <a:spcPct val="0"/>
        </a:spcBef>
        <a:spcAft>
          <a:spcPts val="900"/>
        </a:spcAft>
        <a:buClr>
          <a:schemeClr val="accent1"/>
        </a:buClr>
        <a:buFont typeface="+mj-lt"/>
        <a:buAutoNum type="alphaLcPeriod"/>
        <a:defRPr sz="1200">
          <a:solidFill>
            <a:schemeClr val="tx1"/>
          </a:solidFill>
          <a:latin typeface="+mn-lt"/>
          <a:ea typeface="+mn-ea"/>
        </a:defRPr>
      </a:lvl7pPr>
      <a:lvl8pPr marL="607500" indent="-202500" algn="l" rtl="0" eaLnBrk="1" fontAlgn="base" hangingPunct="1">
        <a:spcBef>
          <a:spcPct val="0"/>
        </a:spcBef>
        <a:spcAft>
          <a:spcPts val="9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900"/>
        </a:spcAft>
        <a:buClr>
          <a:schemeClr val="tx1"/>
        </a:buClr>
        <a:buFontTx/>
        <a:buNone/>
        <a:defRPr sz="1800">
          <a:solidFill>
            <a:schemeClr val="accent1"/>
          </a:solidFill>
          <a:latin typeface="+mn-lt"/>
          <a:ea typeface="+mn-ea"/>
        </a:defRPr>
      </a:lvl9pPr>
    </p:bodyStyle>
    <p:otherStyle>
      <a:defPPr>
        <a:defRPr lang="en-GB"/>
      </a:defPPr>
      <a:lvl1pPr marL="0" indent="0" algn="l" rtl="0" eaLnBrk="1" fontAlgn="base" hangingPunct="1">
        <a:spcBef>
          <a:spcPct val="0"/>
        </a:spcBef>
        <a:spcAft>
          <a:spcPts val="450"/>
        </a:spcAft>
        <a:buClr>
          <a:schemeClr val="tx1"/>
        </a:buClr>
        <a:buFontTx/>
        <a:buNone/>
        <a:defRPr sz="900" b="1">
          <a:solidFill>
            <a:schemeClr val="accent1"/>
          </a:solidFill>
          <a:latin typeface="+mn-lt"/>
          <a:ea typeface="+mn-ea"/>
          <a:cs typeface="+mn-cs"/>
        </a:defRPr>
      </a:lvl1pPr>
      <a:lvl2pPr marL="0" indent="0" algn="l" rtl="0" eaLnBrk="1" fontAlgn="base" hangingPunct="1">
        <a:spcBef>
          <a:spcPct val="0"/>
        </a:spcBef>
        <a:spcAft>
          <a:spcPts val="450"/>
        </a:spcAft>
        <a:buClr>
          <a:schemeClr val="tx1"/>
        </a:buClr>
        <a:buFontTx/>
        <a:buNone/>
        <a:defRPr sz="900">
          <a:solidFill>
            <a:schemeClr val="tx1"/>
          </a:solidFill>
          <a:latin typeface="+mn-lt"/>
          <a:ea typeface="+mn-ea"/>
        </a:defRPr>
      </a:lvl2pPr>
      <a:lvl3pPr marL="135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3pPr>
      <a:lvl4pPr marL="270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4pPr>
      <a:lvl5pPr marL="405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5pPr>
      <a:lvl6pPr marL="135000" indent="-135000" algn="l" rtl="0" eaLnBrk="1" fontAlgn="base" hangingPunct="1">
        <a:spcBef>
          <a:spcPct val="0"/>
        </a:spcBef>
        <a:spcAft>
          <a:spcPts val="450"/>
        </a:spcAft>
        <a:buClr>
          <a:schemeClr val="accent1"/>
        </a:buClr>
        <a:buFont typeface="+mj-lt"/>
        <a:buAutoNum type="arabicPeriod"/>
        <a:defRPr sz="900">
          <a:solidFill>
            <a:schemeClr val="tx1"/>
          </a:solidFill>
          <a:latin typeface="+mn-lt"/>
          <a:ea typeface="+mn-ea"/>
        </a:defRPr>
      </a:lvl6pPr>
      <a:lvl7pPr marL="270000" indent="-135000" algn="l" rtl="0" eaLnBrk="1" fontAlgn="base" hangingPunct="1">
        <a:spcBef>
          <a:spcPct val="0"/>
        </a:spcBef>
        <a:spcAft>
          <a:spcPts val="450"/>
        </a:spcAft>
        <a:buClr>
          <a:schemeClr val="accent1"/>
        </a:buClr>
        <a:buFont typeface="+mj-lt"/>
        <a:buAutoNum type="alphaLcPeriod"/>
        <a:defRPr sz="900">
          <a:solidFill>
            <a:schemeClr val="tx1"/>
          </a:solidFill>
          <a:latin typeface="+mn-lt"/>
          <a:ea typeface="+mn-ea"/>
        </a:defRPr>
      </a:lvl7pPr>
      <a:lvl8pPr marL="405000" indent="-135000" algn="l" rtl="0" eaLnBrk="1" fontAlgn="base" hangingPunct="1">
        <a:spcBef>
          <a:spcPct val="0"/>
        </a:spcBef>
        <a:spcAft>
          <a:spcPts val="450"/>
        </a:spcAft>
        <a:buClr>
          <a:schemeClr val="accent1"/>
        </a:buClr>
        <a:buFont typeface="+mj-lt"/>
        <a:buAutoNum type="romanLcPeriod"/>
        <a:defRPr sz="900">
          <a:solidFill>
            <a:schemeClr val="tx1"/>
          </a:solidFill>
          <a:latin typeface="+mn-lt"/>
          <a:ea typeface="+mn-ea"/>
        </a:defRPr>
      </a:lvl8pPr>
      <a:lvl9pPr marL="0" indent="0" algn="l" rtl="0" eaLnBrk="1" fontAlgn="base" hangingPunct="1">
        <a:spcBef>
          <a:spcPct val="0"/>
        </a:spcBef>
        <a:spcAft>
          <a:spcPts val="450"/>
        </a:spcAft>
        <a:buClr>
          <a:schemeClr val="tx1"/>
        </a:buClr>
        <a:buFontTx/>
        <a:buNone/>
        <a:defRPr sz="900">
          <a:solidFill>
            <a:schemeClr val="accent2"/>
          </a:solidFill>
          <a:latin typeface="+mn-lt"/>
          <a:ea typeface="+mn-ea"/>
        </a:defRPr>
      </a:lvl9pPr>
    </p:otherStyle>
  </p:txStyles>
  <p:extLst>
    <p:ext uri="{27BBF7A9-308A-43DC-89C8-2F10F3537804}">
      <p15:sldGuideLst xmlns:p15="http://schemas.microsoft.com/office/powerpoint/2012/main">
        <p15:guide id="2" pos="3689">
          <p15:clr>
            <a:srgbClr val="F26B43"/>
          </p15:clr>
        </p15:guide>
        <p15:guide id="4" pos="7317">
          <p15:clr>
            <a:srgbClr val="F26B43"/>
          </p15:clr>
        </p15:guide>
        <p15:guide id="6" orient="horz" pos="3793">
          <p15:clr>
            <a:srgbClr val="F26B43"/>
          </p15:clr>
        </p15:guide>
        <p15:guide id="8" pos="363">
          <p15:clr>
            <a:srgbClr val="F26B43"/>
          </p15:clr>
        </p15:guide>
        <p15:guide id="13" pos="3991">
          <p15:clr>
            <a:srgbClr val="F26B43"/>
          </p15:clr>
        </p15:guide>
        <p15:guide id="14" orient="horz" pos="414">
          <p15:clr>
            <a:srgbClr val="F26B43"/>
          </p15:clr>
        </p15:guide>
        <p15:guide id="15" orient="horz" pos="889">
          <p15:clr>
            <a:srgbClr val="F26B43"/>
          </p15:clr>
        </p15:guide>
        <p15:guide id="16" pos="2752">
          <p15:clr>
            <a:srgbClr val="F26B43"/>
          </p15:clr>
        </p15:guide>
        <p15:guide id="17" pos="5140">
          <p15:clr>
            <a:srgbClr val="F26B43"/>
          </p15:clr>
        </p15:guide>
        <p15:guide id="18" pos="4928">
          <p15:clr>
            <a:srgbClr val="F26B43"/>
          </p15:clr>
        </p15:guide>
        <p15:guide id="19" pos="2540">
          <p15:clr>
            <a:srgbClr val="F26B43"/>
          </p15:clr>
        </p15:guide>
        <p15:guide id="20" orient="horz" pos="399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7"/>
            <a:ext cx="11329827" cy="5745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5" y="1411817"/>
            <a:ext cx="11331253" cy="3600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6" y="6444260"/>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3615564" y="6444260"/>
            <a:ext cx="7828105" cy="169277"/>
          </a:xfrm>
          <a:prstGeom prst="rect">
            <a:avLst/>
          </a:prstGeom>
        </p:spPr>
        <p:txBody>
          <a:bodyPr wrap="square" lIns="0" tIns="0" rIns="0" bIns="0" anchor="b">
            <a:spAutoFit/>
          </a:bodyPr>
          <a:lstStyle>
            <a:lvl1pPr algn="r">
              <a:defRPr lang="en-GB" sz="1100" b="0" dirty="0">
                <a:solidFill>
                  <a:schemeClr val="accent1"/>
                </a:solidFill>
                <a:latin typeface="+mn-lt"/>
                <a:ea typeface="+mn-ea"/>
              </a:defRPr>
            </a:lvl1pPr>
          </a:lstStyle>
          <a:p>
            <a:pPr>
              <a:tabLst>
                <a:tab pos="988989" algn="l"/>
              </a:tabLst>
            </a:pPr>
            <a:r>
              <a:rPr lang="en-US"/>
              <a:t>Extended Leadership Team Conference 2018</a:t>
            </a:r>
            <a:endParaRPr lang="fr-FR" b="1"/>
          </a:p>
        </p:txBody>
      </p:sp>
      <p:pic>
        <p:nvPicPr>
          <p:cNvPr id="4" name="Picture 3"/>
          <p:cNvPicPr>
            <a:picLocks noChangeAspect="1"/>
          </p:cNvPicPr>
          <p:nvPr userDrawn="1"/>
        </p:nvPicPr>
        <p:blipFill>
          <a:blip r:embed="rId16"/>
          <a:stretch>
            <a:fillRect/>
          </a:stretch>
        </p:blipFill>
        <p:spPr>
          <a:xfrm>
            <a:off x="430373" y="6320570"/>
            <a:ext cx="2974979" cy="353109"/>
          </a:xfrm>
          <a:prstGeom prst="rect">
            <a:avLst/>
          </a:prstGeom>
        </p:spPr>
      </p:pic>
    </p:spTree>
    <p:extLst>
      <p:ext uri="{BB962C8B-B14F-4D97-AF65-F5344CB8AC3E}">
        <p14:creationId xmlns:p14="http://schemas.microsoft.com/office/powerpoint/2010/main" val="2379344765"/>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58"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15"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73"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30"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69993"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39987"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09980"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69993"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39987" indent="-269993"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09980" indent="-269993"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79996"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59991"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39987"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79996" indent="-179996"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59991" indent="-179996"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39987" indent="-179996"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3689">
          <p15:clr>
            <a:srgbClr val="F26B43"/>
          </p15:clr>
        </p15:guide>
        <p15:guide id="4" pos="7408">
          <p15:clr>
            <a:srgbClr val="F26B43"/>
          </p15:clr>
        </p15:guide>
        <p15:guide id="6" orient="horz" pos="2845">
          <p15:clr>
            <a:srgbClr val="F26B43"/>
          </p15:clr>
        </p15:guide>
        <p15:guide id="8" pos="272">
          <p15:clr>
            <a:srgbClr val="F26B43"/>
          </p15:clr>
        </p15:guide>
        <p15:guide id="13" pos="3991">
          <p15:clr>
            <a:srgbClr val="F26B43"/>
          </p15:clr>
        </p15:guide>
        <p15:guide id="14" orient="horz" pos="350">
          <p15:clr>
            <a:srgbClr val="F26B43"/>
          </p15:clr>
        </p15:guide>
        <p15:guide id="15" orient="horz" pos="667">
          <p15:clr>
            <a:srgbClr val="F26B43"/>
          </p15:clr>
        </p15:guide>
        <p15:guide id="16" pos="2752">
          <p15:clr>
            <a:srgbClr val="F26B43"/>
          </p15:clr>
        </p15:guide>
        <p15:guide id="17" pos="5231">
          <p15:clr>
            <a:srgbClr val="F26B43"/>
          </p15:clr>
        </p15:guide>
        <p15:guide id="18" pos="4928">
          <p15:clr>
            <a:srgbClr val="F26B43"/>
          </p15:clr>
        </p15:guide>
        <p15:guide id="19" pos="244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A315B-BE73-4DA2-A0B2-B55FA2E6D238}"/>
              </a:ext>
            </a:extLst>
          </p:cNvPr>
          <p:cNvSpPr>
            <a:spLocks noGrp="1"/>
          </p:cNvSpPr>
          <p:nvPr>
            <p:ph type="ctrTitle"/>
          </p:nvPr>
        </p:nvSpPr>
        <p:spPr>
          <a:xfrm>
            <a:off x="630000" y="1411818"/>
            <a:ext cx="6486792" cy="1157385"/>
          </a:xfrm>
        </p:spPr>
        <p:txBody>
          <a:bodyPr/>
          <a:lstStyle/>
          <a:p>
            <a:r>
              <a:rPr lang="en-GB" dirty="0"/>
              <a:t>NG Group Data Office</a:t>
            </a:r>
          </a:p>
        </p:txBody>
      </p:sp>
      <p:sp>
        <p:nvSpPr>
          <p:cNvPr id="3" name="Text Placeholder 2">
            <a:extLst>
              <a:ext uri="{FF2B5EF4-FFF2-40B4-BE49-F238E27FC236}">
                <a16:creationId xmlns:a16="http://schemas.microsoft.com/office/drawing/2014/main" id="{CAF464B0-059B-42D6-9AC9-8DD47A70B996}"/>
              </a:ext>
            </a:extLst>
          </p:cNvPr>
          <p:cNvSpPr>
            <a:spLocks noGrp="1"/>
          </p:cNvSpPr>
          <p:nvPr>
            <p:ph type="body" sz="quarter" idx="10"/>
          </p:nvPr>
        </p:nvSpPr>
        <p:spPr/>
        <p:txBody>
          <a:bodyPr/>
          <a:lstStyle/>
          <a:p>
            <a:endParaRPr lang="en-GB"/>
          </a:p>
        </p:txBody>
      </p:sp>
      <p:sp>
        <p:nvSpPr>
          <p:cNvPr id="4" name="Text Placeholder 3">
            <a:extLst>
              <a:ext uri="{FF2B5EF4-FFF2-40B4-BE49-F238E27FC236}">
                <a16:creationId xmlns:a16="http://schemas.microsoft.com/office/drawing/2014/main" id="{D5D82600-6F8C-4735-B46A-CE5DF952254F}"/>
              </a:ext>
            </a:extLst>
          </p:cNvPr>
          <p:cNvSpPr>
            <a:spLocks noGrp="1"/>
          </p:cNvSpPr>
          <p:nvPr>
            <p:ph type="body" sz="quarter" idx="11"/>
          </p:nvPr>
        </p:nvSpPr>
        <p:spPr/>
        <p:txBody>
          <a:bodyPr/>
          <a:lstStyle/>
          <a:p>
            <a:r>
              <a:rPr lang="en-GB"/>
              <a:t>July 2021</a:t>
            </a:r>
          </a:p>
        </p:txBody>
      </p:sp>
    </p:spTree>
    <p:extLst>
      <p:ext uri="{BB962C8B-B14F-4D97-AF65-F5344CB8AC3E}">
        <p14:creationId xmlns:p14="http://schemas.microsoft.com/office/powerpoint/2010/main" val="3976775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6469028-C959-4F60-A687-BBAD54D96FE1}"/>
              </a:ext>
            </a:extLst>
          </p:cNvPr>
          <p:cNvSpPr>
            <a:spLocks noGrp="1"/>
          </p:cNvSpPr>
          <p:nvPr>
            <p:ph type="body" sz="quarter" idx="10"/>
          </p:nvPr>
        </p:nvSpPr>
        <p:spPr/>
        <p:txBody>
          <a:bodyPr/>
          <a:lstStyle/>
          <a:p>
            <a:endParaRPr lang="en-GB"/>
          </a:p>
        </p:txBody>
      </p:sp>
      <p:sp>
        <p:nvSpPr>
          <p:cNvPr id="4" name="Title 3">
            <a:extLst>
              <a:ext uri="{FF2B5EF4-FFF2-40B4-BE49-F238E27FC236}">
                <a16:creationId xmlns:a16="http://schemas.microsoft.com/office/drawing/2014/main" id="{38E4D65F-3BFC-4953-A112-FE6B7B0F6A0F}"/>
              </a:ext>
            </a:extLst>
          </p:cNvPr>
          <p:cNvSpPr>
            <a:spLocks noGrp="1"/>
          </p:cNvSpPr>
          <p:nvPr>
            <p:ph type="ctrTitle"/>
          </p:nvPr>
        </p:nvSpPr>
        <p:spPr/>
        <p:txBody>
          <a:bodyPr/>
          <a:lstStyle/>
          <a:p>
            <a:endParaRPr lang="en-GB"/>
          </a:p>
        </p:txBody>
      </p:sp>
    </p:spTree>
    <p:extLst>
      <p:ext uri="{BB962C8B-B14F-4D97-AF65-F5344CB8AC3E}">
        <p14:creationId xmlns:p14="http://schemas.microsoft.com/office/powerpoint/2010/main" val="3370367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76A9861-ECAB-4ECC-A89E-631768C07B23}"/>
              </a:ext>
            </a:extLst>
          </p:cNvPr>
          <p:cNvSpPr>
            <a:spLocks noGrp="1"/>
          </p:cNvSpPr>
          <p:nvPr>
            <p:ph type="title"/>
          </p:nvPr>
        </p:nvSpPr>
        <p:spPr/>
        <p:txBody>
          <a:bodyPr/>
          <a:lstStyle/>
          <a:p>
            <a:r>
              <a:rPr lang="en-GB" dirty="0"/>
              <a:t>Purpose of the Group Data Office</a:t>
            </a:r>
          </a:p>
        </p:txBody>
      </p:sp>
      <p:sp>
        <p:nvSpPr>
          <p:cNvPr id="6" name="Text Placeholder 5">
            <a:extLst>
              <a:ext uri="{FF2B5EF4-FFF2-40B4-BE49-F238E27FC236}">
                <a16:creationId xmlns:a16="http://schemas.microsoft.com/office/drawing/2014/main" id="{D4485F75-D66B-4DBB-A40F-A379785FF57D}"/>
              </a:ext>
            </a:extLst>
          </p:cNvPr>
          <p:cNvSpPr>
            <a:spLocks noGrp="1"/>
          </p:cNvSpPr>
          <p:nvPr>
            <p:ph type="body" sz="quarter" idx="10"/>
          </p:nvPr>
        </p:nvSpPr>
        <p:spPr>
          <a:xfrm>
            <a:off x="629399" y="1414732"/>
            <a:ext cx="10933801" cy="4760027"/>
          </a:xfrm>
        </p:spPr>
        <p:txBody>
          <a:bodyPr/>
          <a:lstStyle/>
          <a:p>
            <a:pPr marL="0" lvl="1" indent="0">
              <a:lnSpc>
                <a:spcPct val="150000"/>
              </a:lnSpc>
              <a:buNone/>
            </a:pPr>
            <a:r>
              <a:rPr lang="en-GB" sz="2400" b="1" dirty="0"/>
              <a:t>To help National Grid become Data Driven</a:t>
            </a:r>
          </a:p>
          <a:p>
            <a:pPr>
              <a:lnSpc>
                <a:spcPct val="150000"/>
              </a:lnSpc>
            </a:pPr>
            <a:r>
              <a:rPr lang="en-GB" dirty="0"/>
              <a:t>A data driven organisation has enabled its data so that it can:</a:t>
            </a:r>
          </a:p>
          <a:p>
            <a:pPr lvl="2">
              <a:lnSpc>
                <a:spcPct val="150000"/>
              </a:lnSpc>
            </a:pPr>
            <a:r>
              <a:rPr lang="en-GB" sz="1600" dirty="0"/>
              <a:t>make better, faster decisions</a:t>
            </a:r>
          </a:p>
          <a:p>
            <a:pPr lvl="2">
              <a:lnSpc>
                <a:spcPct val="150000"/>
              </a:lnSpc>
            </a:pPr>
            <a:r>
              <a:rPr lang="en-GB" sz="1600" dirty="0"/>
              <a:t>accelerate transformation</a:t>
            </a:r>
          </a:p>
          <a:p>
            <a:pPr lvl="2">
              <a:lnSpc>
                <a:spcPct val="150000"/>
              </a:lnSpc>
            </a:pPr>
            <a:r>
              <a:rPr lang="en-GB" sz="1600" dirty="0"/>
              <a:t>become more efficient and effective</a:t>
            </a:r>
          </a:p>
          <a:p>
            <a:pPr lvl="2">
              <a:lnSpc>
                <a:spcPct val="150000"/>
              </a:lnSpc>
            </a:pPr>
            <a:r>
              <a:rPr lang="en-GB" sz="1600" dirty="0"/>
              <a:t>enable new opportunities; revenue streams, business models</a:t>
            </a:r>
          </a:p>
          <a:p>
            <a:pPr lvl="2">
              <a:lnSpc>
                <a:spcPct val="150000"/>
              </a:lnSpc>
            </a:pPr>
            <a:r>
              <a:rPr lang="en-GB" sz="1600" dirty="0"/>
              <a:t>protect brand and mitigate risk</a:t>
            </a:r>
          </a:p>
          <a:p>
            <a:pPr lvl="2">
              <a:lnSpc>
                <a:spcPct val="150000"/>
              </a:lnSpc>
            </a:pPr>
            <a:r>
              <a:rPr lang="en-GB" sz="1600" dirty="0"/>
              <a:t>continuously innovate </a:t>
            </a:r>
          </a:p>
          <a:p>
            <a:pPr lvl="2">
              <a:lnSpc>
                <a:spcPct val="150000"/>
              </a:lnSpc>
            </a:pPr>
            <a:r>
              <a:rPr lang="en-GB" sz="1600" dirty="0"/>
              <a:t>enable the business strategy</a:t>
            </a:r>
          </a:p>
          <a:p>
            <a:pPr>
              <a:lnSpc>
                <a:spcPct val="150000"/>
              </a:lnSpc>
            </a:pPr>
            <a:endParaRPr lang="en-GB" dirty="0"/>
          </a:p>
        </p:txBody>
      </p:sp>
    </p:spTree>
    <p:extLst>
      <p:ext uri="{BB962C8B-B14F-4D97-AF65-F5344CB8AC3E}">
        <p14:creationId xmlns:p14="http://schemas.microsoft.com/office/powerpoint/2010/main" val="3727481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76A9861-ECAB-4ECC-A89E-631768C07B23}"/>
              </a:ext>
            </a:extLst>
          </p:cNvPr>
          <p:cNvSpPr>
            <a:spLocks noGrp="1"/>
          </p:cNvSpPr>
          <p:nvPr>
            <p:ph type="title"/>
          </p:nvPr>
        </p:nvSpPr>
        <p:spPr>
          <a:xfrm>
            <a:off x="146920" y="88811"/>
            <a:ext cx="10933350" cy="443198"/>
          </a:xfrm>
        </p:spPr>
        <p:txBody>
          <a:bodyPr/>
          <a:lstStyle/>
          <a:p>
            <a:r>
              <a:rPr lang="en-GB" dirty="0"/>
              <a:t>How to help NG become Data Driven</a:t>
            </a:r>
          </a:p>
        </p:txBody>
      </p:sp>
      <p:sp>
        <p:nvSpPr>
          <p:cNvPr id="6" name="Text Placeholder 5">
            <a:extLst>
              <a:ext uri="{FF2B5EF4-FFF2-40B4-BE49-F238E27FC236}">
                <a16:creationId xmlns:a16="http://schemas.microsoft.com/office/drawing/2014/main" id="{D4485F75-D66B-4DBB-A40F-A379785FF57D}"/>
              </a:ext>
            </a:extLst>
          </p:cNvPr>
          <p:cNvSpPr>
            <a:spLocks noGrp="1"/>
          </p:cNvSpPr>
          <p:nvPr>
            <p:ph type="body" sz="quarter" idx="10"/>
          </p:nvPr>
        </p:nvSpPr>
        <p:spPr>
          <a:xfrm>
            <a:off x="146920" y="567220"/>
            <a:ext cx="10933801" cy="750498"/>
          </a:xfrm>
        </p:spPr>
        <p:txBody>
          <a:bodyPr/>
          <a:lstStyle/>
          <a:p>
            <a:pPr marL="0" lvl="1" indent="0">
              <a:lnSpc>
                <a:spcPct val="150000"/>
              </a:lnSpc>
              <a:buNone/>
            </a:pPr>
            <a:r>
              <a:rPr lang="en-GB" sz="2400" b="1" dirty="0"/>
              <a:t>Define, implement, govern and measure a Group Data Strategy</a:t>
            </a:r>
          </a:p>
          <a:p>
            <a:pPr marL="0" lvl="1" indent="0">
              <a:lnSpc>
                <a:spcPct val="150000"/>
              </a:lnSpc>
              <a:buNone/>
            </a:pPr>
            <a:endParaRPr lang="en-GB" sz="1600" dirty="0"/>
          </a:p>
          <a:p>
            <a:pPr>
              <a:lnSpc>
                <a:spcPct val="150000"/>
              </a:lnSpc>
            </a:pPr>
            <a:endParaRPr lang="en-GB" dirty="0"/>
          </a:p>
        </p:txBody>
      </p:sp>
      <p:pic>
        <p:nvPicPr>
          <p:cNvPr id="2" name="Picture 1">
            <a:extLst>
              <a:ext uri="{FF2B5EF4-FFF2-40B4-BE49-F238E27FC236}">
                <a16:creationId xmlns:a16="http://schemas.microsoft.com/office/drawing/2014/main" id="{9CA2FD8C-17F8-46C0-9461-A1FAFE6B0617}"/>
              </a:ext>
            </a:extLst>
          </p:cNvPr>
          <p:cNvPicPr>
            <a:picLocks noChangeAspect="1"/>
          </p:cNvPicPr>
          <p:nvPr/>
        </p:nvPicPr>
        <p:blipFill>
          <a:blip r:embed="rId2"/>
          <a:stretch>
            <a:fillRect/>
          </a:stretch>
        </p:blipFill>
        <p:spPr>
          <a:xfrm>
            <a:off x="146920" y="1181821"/>
            <a:ext cx="7117720" cy="2965405"/>
          </a:xfrm>
          <a:prstGeom prst="rect">
            <a:avLst/>
          </a:prstGeom>
        </p:spPr>
      </p:pic>
      <p:pic>
        <p:nvPicPr>
          <p:cNvPr id="3" name="Picture 2">
            <a:extLst>
              <a:ext uri="{FF2B5EF4-FFF2-40B4-BE49-F238E27FC236}">
                <a16:creationId xmlns:a16="http://schemas.microsoft.com/office/drawing/2014/main" id="{E602A432-A7DE-4E25-8FBA-D63E77D103B4}"/>
              </a:ext>
            </a:extLst>
          </p:cNvPr>
          <p:cNvPicPr>
            <a:picLocks noChangeAspect="1"/>
          </p:cNvPicPr>
          <p:nvPr/>
        </p:nvPicPr>
        <p:blipFill>
          <a:blip r:embed="rId3"/>
          <a:stretch>
            <a:fillRect/>
          </a:stretch>
        </p:blipFill>
        <p:spPr>
          <a:xfrm>
            <a:off x="4563372" y="2528052"/>
            <a:ext cx="7338599" cy="3907254"/>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996367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76A9861-ECAB-4ECC-A89E-631768C07B23}"/>
              </a:ext>
            </a:extLst>
          </p:cNvPr>
          <p:cNvSpPr>
            <a:spLocks noGrp="1"/>
          </p:cNvSpPr>
          <p:nvPr>
            <p:ph type="title"/>
          </p:nvPr>
        </p:nvSpPr>
        <p:spPr>
          <a:xfrm>
            <a:off x="146920" y="88811"/>
            <a:ext cx="10933350" cy="443198"/>
          </a:xfrm>
        </p:spPr>
        <p:txBody>
          <a:bodyPr/>
          <a:lstStyle/>
          <a:p>
            <a:r>
              <a:rPr lang="en-GB" dirty="0"/>
              <a:t>How to help NG become Data Driven</a:t>
            </a:r>
          </a:p>
        </p:txBody>
      </p:sp>
      <p:sp>
        <p:nvSpPr>
          <p:cNvPr id="7" name="Text Placeholder 5">
            <a:extLst>
              <a:ext uri="{FF2B5EF4-FFF2-40B4-BE49-F238E27FC236}">
                <a16:creationId xmlns:a16="http://schemas.microsoft.com/office/drawing/2014/main" id="{59A8B75E-B0A1-4BF5-99BE-72602B246363}"/>
              </a:ext>
            </a:extLst>
          </p:cNvPr>
          <p:cNvSpPr txBox="1">
            <a:spLocks/>
          </p:cNvSpPr>
          <p:nvPr/>
        </p:nvSpPr>
        <p:spPr>
          <a:xfrm>
            <a:off x="146920" y="532009"/>
            <a:ext cx="11106000" cy="75049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rgbClr val="00148C"/>
              </a:buClr>
              <a:buFont typeface="Arial" panose="020B0604020202020204" pitchFamily="34" charset="0"/>
              <a:buChar char="​"/>
              <a:defRPr lang="en-US" sz="2000" kern="1200">
                <a:solidFill>
                  <a:schemeClr val="tx1"/>
                </a:solidFill>
                <a:latin typeface="+mn-lt"/>
                <a:ea typeface="+mn-ea"/>
                <a:cs typeface="+mn-cs"/>
                <a:sym typeface="+mn-lt"/>
              </a:defRPr>
            </a:lvl1pPr>
            <a:lvl2pPr marL="284400" indent="-172800" algn="l" defTabSz="914400" rtl="0" eaLnBrk="1" latinLnBrk="0" hangingPunct="1">
              <a:lnSpc>
                <a:spcPct val="100000"/>
              </a:lnSpc>
              <a:spcBef>
                <a:spcPts val="0"/>
              </a:spcBef>
              <a:spcAft>
                <a:spcPts val="0"/>
              </a:spcAft>
              <a:buClr>
                <a:srgbClr val="00148C"/>
              </a:buClr>
              <a:buFont typeface="Arial" panose="020B0604020202020204" pitchFamily="34" charset="0"/>
              <a:buChar char="•"/>
              <a:defRPr lang="en-US" sz="2000" kern="1200">
                <a:solidFill>
                  <a:schemeClr val="tx1"/>
                </a:solidFill>
                <a:latin typeface="+mn-lt"/>
                <a:ea typeface="+mn-ea"/>
                <a:cs typeface="+mn-cs"/>
                <a:sym typeface="+mn-lt"/>
              </a:defRPr>
            </a:lvl2pPr>
            <a:lvl3pPr marL="511200" indent="-165600" algn="l" defTabSz="914400" rtl="0" eaLnBrk="1" latinLnBrk="0" hangingPunct="1">
              <a:lnSpc>
                <a:spcPct val="100000"/>
              </a:lnSpc>
              <a:spcBef>
                <a:spcPts val="0"/>
              </a:spcBef>
              <a:spcAft>
                <a:spcPts val="0"/>
              </a:spcAft>
              <a:buClr>
                <a:srgbClr val="00148C"/>
              </a:buClr>
              <a:buFont typeface="Trebuchet MS" panose="020B0603020202020204" pitchFamily="34" charset="0"/>
              <a:buChar char="–"/>
              <a:defRPr lang="en-US" sz="2000" kern="1200">
                <a:solidFill>
                  <a:schemeClr val="tx1"/>
                </a:solidFill>
                <a:latin typeface="+mn-lt"/>
                <a:ea typeface="+mn-ea"/>
                <a:cs typeface="+mn-cs"/>
                <a:sym typeface="+mn-lt"/>
              </a:defRPr>
            </a:lvl3pPr>
            <a:lvl4pPr marL="0" indent="0" algn="l" defTabSz="914400" rtl="0" eaLnBrk="1" latinLnBrk="0" hangingPunct="1">
              <a:lnSpc>
                <a:spcPct val="100000"/>
              </a:lnSpc>
              <a:spcBef>
                <a:spcPts val="0"/>
              </a:spcBef>
              <a:spcAft>
                <a:spcPts val="0"/>
              </a:spcAft>
              <a:buClr>
                <a:srgbClr val="00148C"/>
              </a:buClr>
              <a:buFont typeface="Arial" panose="020B0604020202020204" pitchFamily="34" charset="0"/>
              <a:buChar char="​"/>
              <a:defRPr lang="en-US" sz="28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0"/>
              </a:spcAft>
              <a:buClr>
                <a:srgbClr val="00148C"/>
              </a:buClr>
              <a:buFont typeface="Arial" panose="020B0604020202020204" pitchFamily="34" charset="0"/>
              <a:buChar char="​"/>
              <a:defRPr lang="en-US" sz="2800" b="1" kern="120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lvl="1" indent="0">
              <a:lnSpc>
                <a:spcPct val="150000"/>
              </a:lnSpc>
              <a:buFont typeface="Arial" panose="020B0604020202020204" pitchFamily="34" charset="0"/>
              <a:buNone/>
            </a:pPr>
            <a:r>
              <a:rPr lang="en-GB" sz="2400" b="1" dirty="0"/>
              <a:t>The Group Data Strategy has set some priorities:</a:t>
            </a:r>
          </a:p>
          <a:p>
            <a:pPr marL="0" lvl="1" indent="0">
              <a:lnSpc>
                <a:spcPct val="150000"/>
              </a:lnSpc>
              <a:buFont typeface="Arial" panose="020B0604020202020204" pitchFamily="34" charset="0"/>
              <a:buNone/>
            </a:pPr>
            <a:endParaRPr lang="en-GB" sz="1600" dirty="0"/>
          </a:p>
          <a:p>
            <a:pPr>
              <a:lnSpc>
                <a:spcPct val="150000"/>
              </a:lnSpc>
            </a:pPr>
            <a:endParaRPr lang="en-GB" dirty="0"/>
          </a:p>
        </p:txBody>
      </p:sp>
      <p:sp>
        <p:nvSpPr>
          <p:cNvPr id="8" name="Text Placeholder 7">
            <a:extLst>
              <a:ext uri="{FF2B5EF4-FFF2-40B4-BE49-F238E27FC236}">
                <a16:creationId xmlns:a16="http://schemas.microsoft.com/office/drawing/2014/main" id="{90293BE6-37DE-4040-945C-88D1EB34ECE0}"/>
              </a:ext>
            </a:extLst>
          </p:cNvPr>
          <p:cNvSpPr>
            <a:spLocks noGrp="1"/>
          </p:cNvSpPr>
          <p:nvPr>
            <p:ph type="body" sz="quarter" idx="10"/>
          </p:nvPr>
        </p:nvSpPr>
        <p:spPr>
          <a:xfrm>
            <a:off x="457200" y="1298174"/>
            <a:ext cx="11214339" cy="5050872"/>
          </a:xfrm>
        </p:spPr>
        <p:txBody>
          <a:bodyPr/>
          <a:lstStyle/>
          <a:p>
            <a:pPr marL="457200" indent="-457200">
              <a:buFont typeface="+mj-lt"/>
              <a:buAutoNum type="arabicPeriod"/>
            </a:pPr>
            <a:r>
              <a:rPr lang="en-GB" dirty="0">
                <a:solidFill>
                  <a:schemeClr val="tx2"/>
                </a:solidFill>
              </a:rPr>
              <a:t>Establish a </a:t>
            </a:r>
            <a:r>
              <a:rPr lang="en-GB" b="1" dirty="0">
                <a:solidFill>
                  <a:schemeClr val="tx2"/>
                </a:solidFill>
              </a:rPr>
              <a:t>common approach to Strategic Data Transformations </a:t>
            </a:r>
            <a:r>
              <a:rPr lang="en-GB" dirty="0">
                <a:solidFill>
                  <a:schemeClr val="tx2"/>
                </a:solidFill>
              </a:rPr>
              <a:t>across BUs</a:t>
            </a:r>
          </a:p>
          <a:p>
            <a:pPr marL="968400" lvl="2" indent="-457200"/>
            <a:r>
              <a:rPr lang="en-GB" dirty="0">
                <a:solidFill>
                  <a:schemeClr val="tx2"/>
                </a:solidFill>
              </a:rPr>
              <a:t>Technology standards, common data reference architecture, Data Management Standards, hub and spoke operating model, Group wide collaboration around data</a:t>
            </a:r>
          </a:p>
          <a:p>
            <a:pPr>
              <a:buNone/>
            </a:pPr>
            <a:endParaRPr lang="en-GB" dirty="0">
              <a:solidFill>
                <a:schemeClr val="tx2"/>
              </a:solidFill>
            </a:endParaRPr>
          </a:p>
          <a:p>
            <a:pPr marL="457200" indent="-457200">
              <a:buFont typeface="+mj-lt"/>
              <a:buAutoNum type="arabicPeriod" startAt="2"/>
            </a:pPr>
            <a:r>
              <a:rPr lang="en-GB" dirty="0">
                <a:solidFill>
                  <a:schemeClr val="tx2"/>
                </a:solidFill>
              </a:rPr>
              <a:t>Ensure data initiatives </a:t>
            </a:r>
            <a:r>
              <a:rPr lang="en-GB" b="1" dirty="0">
                <a:solidFill>
                  <a:schemeClr val="tx2"/>
                </a:solidFill>
              </a:rPr>
              <a:t>lead with value and outcomes</a:t>
            </a:r>
          </a:p>
          <a:p>
            <a:pPr marL="968400" lvl="2" indent="-457200"/>
            <a:r>
              <a:rPr lang="en-GB" dirty="0">
                <a:solidFill>
                  <a:schemeClr val="tx2"/>
                </a:solidFill>
              </a:rPr>
              <a:t>Link BU Data Strategy to Business Strategy, ensure all data MVPs are value led, establish a data value mapping method for use cases and a standard approach for BU Data Strategy</a:t>
            </a:r>
          </a:p>
          <a:p>
            <a:pPr marL="457200" indent="-457200">
              <a:buFont typeface="+mj-lt"/>
              <a:buAutoNum type="arabicPeriod" startAt="2"/>
            </a:pPr>
            <a:endParaRPr lang="en-GB" dirty="0">
              <a:solidFill>
                <a:schemeClr val="tx2"/>
              </a:solidFill>
            </a:endParaRPr>
          </a:p>
          <a:p>
            <a:pPr marL="457200" indent="-457200">
              <a:buFont typeface="+mj-lt"/>
              <a:buAutoNum type="arabicPeriod" startAt="2"/>
            </a:pPr>
            <a:r>
              <a:rPr lang="en-GB" dirty="0">
                <a:solidFill>
                  <a:schemeClr val="tx2"/>
                </a:solidFill>
              </a:rPr>
              <a:t>Prioritise </a:t>
            </a:r>
            <a:r>
              <a:rPr lang="en-GB" b="1" dirty="0">
                <a:solidFill>
                  <a:schemeClr val="tx2"/>
                </a:solidFill>
              </a:rPr>
              <a:t>Data Mastering </a:t>
            </a:r>
            <a:r>
              <a:rPr lang="en-GB" dirty="0">
                <a:solidFill>
                  <a:schemeClr val="tx2"/>
                </a:solidFill>
              </a:rPr>
              <a:t>and </a:t>
            </a:r>
            <a:r>
              <a:rPr lang="en-GB" b="1" dirty="0">
                <a:solidFill>
                  <a:schemeClr val="tx2"/>
                </a:solidFill>
              </a:rPr>
              <a:t>Managing Data as an Asset</a:t>
            </a:r>
          </a:p>
          <a:p>
            <a:pPr marL="968400" lvl="2" indent="-457200"/>
            <a:r>
              <a:rPr lang="en-GB" dirty="0">
                <a:solidFill>
                  <a:schemeClr val="tx2"/>
                </a:solidFill>
              </a:rPr>
              <a:t>Ensure all strategic data projects establish and leverage a reusable model for master data and data management</a:t>
            </a:r>
          </a:p>
          <a:p>
            <a:pPr marL="457200" indent="-457200">
              <a:buFont typeface="+mj-lt"/>
              <a:buAutoNum type="arabicPeriod"/>
            </a:pPr>
            <a:endParaRPr lang="en-GB" dirty="0">
              <a:solidFill>
                <a:schemeClr val="tx2"/>
              </a:solidFill>
            </a:endParaRPr>
          </a:p>
          <a:p>
            <a:pPr marL="457200" indent="-457200">
              <a:buFont typeface="+mj-lt"/>
              <a:buAutoNum type="arabicPeriod" startAt="4"/>
            </a:pPr>
            <a:r>
              <a:rPr lang="en-GB" dirty="0">
                <a:solidFill>
                  <a:schemeClr val="tx2"/>
                </a:solidFill>
              </a:rPr>
              <a:t>Adopt </a:t>
            </a:r>
            <a:r>
              <a:rPr lang="en-GB" b="1" dirty="0">
                <a:solidFill>
                  <a:schemeClr val="tx2"/>
                </a:solidFill>
              </a:rPr>
              <a:t>Digital Ways of Working for Data</a:t>
            </a:r>
          </a:p>
          <a:p>
            <a:pPr marL="968400" lvl="2" indent="-457200"/>
            <a:r>
              <a:rPr lang="en-GB" dirty="0">
                <a:solidFill>
                  <a:schemeClr val="tx2"/>
                </a:solidFill>
              </a:rPr>
              <a:t>Align the data delivery model with a product operating model.  Align with the Digital Hub and Spoke delivery model.  Align the Data Technology standards and reference architecture with </a:t>
            </a:r>
            <a:r>
              <a:rPr lang="en-GB" dirty="0" err="1">
                <a:solidFill>
                  <a:schemeClr val="tx2"/>
                </a:solidFill>
              </a:rPr>
              <a:t>GridStack</a:t>
            </a:r>
            <a:endParaRPr lang="en-GB" dirty="0">
              <a:solidFill>
                <a:schemeClr val="tx2"/>
              </a:solidFill>
            </a:endParaRPr>
          </a:p>
        </p:txBody>
      </p:sp>
    </p:spTree>
    <p:extLst>
      <p:ext uri="{BB962C8B-B14F-4D97-AF65-F5344CB8AC3E}">
        <p14:creationId xmlns:p14="http://schemas.microsoft.com/office/powerpoint/2010/main" val="2611373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54F0B-8A32-4C75-B417-11BA0F71D2B2}"/>
              </a:ext>
            </a:extLst>
          </p:cNvPr>
          <p:cNvSpPr>
            <a:spLocks noGrp="1"/>
          </p:cNvSpPr>
          <p:nvPr>
            <p:ph type="title"/>
          </p:nvPr>
        </p:nvSpPr>
        <p:spPr/>
        <p:txBody>
          <a:bodyPr/>
          <a:lstStyle/>
          <a:p>
            <a:r>
              <a:rPr lang="en-GB" dirty="0"/>
              <a:t>Group Data Office Team</a:t>
            </a:r>
          </a:p>
        </p:txBody>
      </p:sp>
      <p:graphicFrame>
        <p:nvGraphicFramePr>
          <p:cNvPr id="4" name="Diagram 3">
            <a:extLst>
              <a:ext uri="{FF2B5EF4-FFF2-40B4-BE49-F238E27FC236}">
                <a16:creationId xmlns:a16="http://schemas.microsoft.com/office/drawing/2014/main" id="{787F1134-1B81-430A-A123-000F3605A348}"/>
              </a:ext>
            </a:extLst>
          </p:cNvPr>
          <p:cNvGraphicFramePr/>
          <p:nvPr/>
        </p:nvGraphicFramePr>
        <p:xfrm>
          <a:off x="2032000" y="-18610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a:extLst>
              <a:ext uri="{FF2B5EF4-FFF2-40B4-BE49-F238E27FC236}">
                <a16:creationId xmlns:a16="http://schemas.microsoft.com/office/drawing/2014/main" id="{D53C1740-6BAB-436D-9F8A-12A4738B3385}"/>
              </a:ext>
            </a:extLst>
          </p:cNvPr>
          <p:cNvSpPr/>
          <p:nvPr/>
        </p:nvSpPr>
        <p:spPr>
          <a:xfrm>
            <a:off x="2032000" y="3674852"/>
            <a:ext cx="1737743" cy="2467155"/>
          </a:xfrm>
          <a:prstGeom prst="rect">
            <a:avLst/>
          </a:prstGeom>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Own:  Technology &amp; Data Architecture across ‘capture, share and utilise’ of the Group Data Strategy</a:t>
            </a:r>
          </a:p>
          <a:p>
            <a:pPr algn="l"/>
            <a:endParaRPr lang="en-GB" sz="1000" dirty="0">
              <a:solidFill>
                <a:srgbClr val="00148C"/>
              </a:solidFill>
            </a:endParaRPr>
          </a:p>
          <a:p>
            <a:pPr algn="l"/>
            <a:r>
              <a:rPr lang="en-GB" sz="1000" dirty="0">
                <a:solidFill>
                  <a:srgbClr val="00148C"/>
                </a:solidFill>
              </a:rPr>
              <a:t>Technology Standards</a:t>
            </a:r>
          </a:p>
          <a:p>
            <a:pPr algn="l"/>
            <a:r>
              <a:rPr lang="en-GB" sz="1000" dirty="0">
                <a:solidFill>
                  <a:srgbClr val="00148C"/>
                </a:solidFill>
              </a:rPr>
              <a:t>Data Reference Architecture</a:t>
            </a:r>
          </a:p>
          <a:p>
            <a:pPr algn="l"/>
            <a:endParaRPr lang="en-GB" sz="1000" dirty="0">
              <a:solidFill>
                <a:srgbClr val="00148C"/>
              </a:solidFill>
            </a:endParaRPr>
          </a:p>
          <a:p>
            <a:pPr algn="l"/>
            <a:r>
              <a:rPr lang="en-GB" sz="1000" dirty="0">
                <a:solidFill>
                  <a:srgbClr val="00148C"/>
                </a:solidFill>
              </a:rPr>
              <a:t>Govern and support BU strategic project delivery</a:t>
            </a:r>
          </a:p>
          <a:p>
            <a:pPr algn="l"/>
            <a:endParaRPr lang="en-GB" sz="1000" dirty="0">
              <a:solidFill>
                <a:srgbClr val="00148C"/>
              </a:solidFill>
            </a:endParaRPr>
          </a:p>
          <a:p>
            <a:pPr algn="l"/>
            <a:r>
              <a:rPr lang="en-GB" sz="1000" dirty="0">
                <a:solidFill>
                  <a:srgbClr val="00148C"/>
                </a:solidFill>
              </a:rPr>
              <a:t>Drive and support architecture reuse and collaboration around data</a:t>
            </a:r>
          </a:p>
        </p:txBody>
      </p:sp>
      <p:sp>
        <p:nvSpPr>
          <p:cNvPr id="6" name="Rectangle 5">
            <a:extLst>
              <a:ext uri="{FF2B5EF4-FFF2-40B4-BE49-F238E27FC236}">
                <a16:creationId xmlns:a16="http://schemas.microsoft.com/office/drawing/2014/main" id="{8FEE1862-16F5-45E5-B410-36A72CFCE947}"/>
              </a:ext>
            </a:extLst>
          </p:cNvPr>
          <p:cNvSpPr/>
          <p:nvPr/>
        </p:nvSpPr>
        <p:spPr>
          <a:xfrm>
            <a:off x="4166560" y="3674852"/>
            <a:ext cx="1737743" cy="2467155"/>
          </a:xfrm>
          <a:prstGeom prst="rect">
            <a:avLst/>
          </a:prstGeom>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000" dirty="0">
                <a:solidFill>
                  <a:srgbClr val="00148C"/>
                </a:solidFill>
              </a:rPr>
              <a:t>Own: Data Governance across ‘capture, share and utilise’ of the Group Data Strategy</a:t>
            </a:r>
          </a:p>
          <a:p>
            <a:endParaRPr lang="en-GB" sz="1000" dirty="0">
              <a:solidFill>
                <a:srgbClr val="00148C"/>
              </a:solidFill>
            </a:endParaRPr>
          </a:p>
          <a:p>
            <a:r>
              <a:rPr lang="en-GB" sz="1000" dirty="0">
                <a:solidFill>
                  <a:srgbClr val="00148C"/>
                </a:solidFill>
              </a:rPr>
              <a:t>Data Management Standards</a:t>
            </a:r>
          </a:p>
          <a:p>
            <a:r>
              <a:rPr lang="en-GB" sz="1000" dirty="0">
                <a:solidFill>
                  <a:srgbClr val="00148C"/>
                </a:solidFill>
              </a:rPr>
              <a:t>Group IT data risk</a:t>
            </a:r>
          </a:p>
          <a:p>
            <a:endParaRPr lang="en-GB" sz="1000" dirty="0">
              <a:solidFill>
                <a:srgbClr val="00148C"/>
              </a:solidFill>
            </a:endParaRPr>
          </a:p>
          <a:p>
            <a:r>
              <a:rPr lang="en-GB" sz="1000" dirty="0">
                <a:solidFill>
                  <a:srgbClr val="00148C"/>
                </a:solidFill>
              </a:rPr>
              <a:t>Govern and support BU strategic project delivery</a:t>
            </a:r>
          </a:p>
          <a:p>
            <a:endParaRPr lang="en-GB" sz="1000" dirty="0">
              <a:solidFill>
                <a:srgbClr val="00148C"/>
              </a:solidFill>
            </a:endParaRPr>
          </a:p>
          <a:p>
            <a:r>
              <a:rPr lang="en-GB" sz="1000" dirty="0">
                <a:solidFill>
                  <a:srgbClr val="00148C"/>
                </a:solidFill>
              </a:rPr>
              <a:t>Drive and support business teams to manage data as an asset</a:t>
            </a:r>
          </a:p>
        </p:txBody>
      </p:sp>
      <p:sp>
        <p:nvSpPr>
          <p:cNvPr id="7" name="Rectangle 6">
            <a:extLst>
              <a:ext uri="{FF2B5EF4-FFF2-40B4-BE49-F238E27FC236}">
                <a16:creationId xmlns:a16="http://schemas.microsoft.com/office/drawing/2014/main" id="{209428A4-B39F-4C89-B9CA-4393551A101B}"/>
              </a:ext>
            </a:extLst>
          </p:cNvPr>
          <p:cNvSpPr/>
          <p:nvPr/>
        </p:nvSpPr>
        <p:spPr>
          <a:xfrm>
            <a:off x="6287698" y="3674852"/>
            <a:ext cx="1737743" cy="2467155"/>
          </a:xfrm>
          <a:prstGeom prst="rect">
            <a:avLst/>
          </a:prstGeom>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000" dirty="0">
                <a:solidFill>
                  <a:srgbClr val="00148C"/>
                </a:solidFill>
              </a:rPr>
              <a:t>Own: Group Data Strategy buy-in, execution and governance.  Value first approach.  Data Culture improvements</a:t>
            </a:r>
          </a:p>
          <a:p>
            <a:endParaRPr lang="en-GB" sz="1000" dirty="0">
              <a:solidFill>
                <a:srgbClr val="00148C"/>
              </a:solidFill>
            </a:endParaRPr>
          </a:p>
          <a:p>
            <a:r>
              <a:rPr lang="en-GB" sz="1000" dirty="0">
                <a:solidFill>
                  <a:srgbClr val="00148C"/>
                </a:solidFill>
              </a:rPr>
              <a:t>Data Strategy templates</a:t>
            </a:r>
          </a:p>
          <a:p>
            <a:r>
              <a:rPr lang="en-GB" sz="1000" dirty="0">
                <a:solidFill>
                  <a:srgbClr val="00148C"/>
                </a:solidFill>
              </a:rPr>
              <a:t>Value first approach</a:t>
            </a:r>
          </a:p>
          <a:p>
            <a:r>
              <a:rPr lang="en-GB" sz="1000" dirty="0">
                <a:solidFill>
                  <a:srgbClr val="00148C"/>
                </a:solidFill>
              </a:rPr>
              <a:t>Collaboration forums</a:t>
            </a:r>
          </a:p>
          <a:p>
            <a:endParaRPr lang="en-GB" sz="1000" dirty="0">
              <a:solidFill>
                <a:srgbClr val="00148C"/>
              </a:solidFill>
            </a:endParaRPr>
          </a:p>
          <a:p>
            <a:r>
              <a:rPr lang="en-GB" sz="1000" dirty="0">
                <a:solidFill>
                  <a:srgbClr val="00148C"/>
                </a:solidFill>
              </a:rPr>
              <a:t>Govern and support BU strategic project delivery</a:t>
            </a:r>
          </a:p>
          <a:p>
            <a:endParaRPr lang="en-GB" sz="1000" dirty="0">
              <a:solidFill>
                <a:srgbClr val="00148C"/>
              </a:solidFill>
            </a:endParaRPr>
          </a:p>
          <a:p>
            <a:r>
              <a:rPr lang="en-GB" sz="1000" dirty="0">
                <a:solidFill>
                  <a:srgbClr val="00148C"/>
                </a:solidFill>
              </a:rPr>
              <a:t>Drive and support project teams to be led by value</a:t>
            </a:r>
          </a:p>
        </p:txBody>
      </p:sp>
      <p:sp>
        <p:nvSpPr>
          <p:cNvPr id="8" name="Rectangle 7">
            <a:extLst>
              <a:ext uri="{FF2B5EF4-FFF2-40B4-BE49-F238E27FC236}">
                <a16:creationId xmlns:a16="http://schemas.microsoft.com/office/drawing/2014/main" id="{36D9E54D-DC62-40EE-80AA-C05A8BF4FD8A}"/>
              </a:ext>
            </a:extLst>
          </p:cNvPr>
          <p:cNvSpPr/>
          <p:nvPr/>
        </p:nvSpPr>
        <p:spPr>
          <a:xfrm>
            <a:off x="8422257" y="3674852"/>
            <a:ext cx="1737743" cy="2467155"/>
          </a:xfrm>
          <a:prstGeom prst="rect">
            <a:avLst/>
          </a:prstGeom>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000" dirty="0">
                <a:solidFill>
                  <a:srgbClr val="00148C"/>
                </a:solidFill>
              </a:rPr>
              <a:t>Own: Deployment of strategic data platforms and hub delivery of data engineering</a:t>
            </a:r>
          </a:p>
          <a:p>
            <a:endParaRPr lang="en-GB" sz="1000" dirty="0">
              <a:solidFill>
                <a:srgbClr val="00148C"/>
              </a:solidFill>
            </a:endParaRPr>
          </a:p>
          <a:p>
            <a:r>
              <a:rPr lang="en-GB" sz="1000" dirty="0">
                <a:solidFill>
                  <a:srgbClr val="00148C"/>
                </a:solidFill>
              </a:rPr>
              <a:t>Data project delivery method</a:t>
            </a:r>
          </a:p>
          <a:p>
            <a:r>
              <a:rPr lang="en-GB" sz="1000" dirty="0">
                <a:solidFill>
                  <a:srgbClr val="00148C"/>
                </a:solidFill>
              </a:rPr>
              <a:t>Data platform and pipeline operations</a:t>
            </a:r>
          </a:p>
          <a:p>
            <a:endParaRPr lang="en-GB" sz="1000" dirty="0">
              <a:solidFill>
                <a:srgbClr val="00148C"/>
              </a:solidFill>
            </a:endParaRPr>
          </a:p>
          <a:p>
            <a:r>
              <a:rPr lang="en-GB" sz="1000" dirty="0">
                <a:solidFill>
                  <a:srgbClr val="00148C"/>
                </a:solidFill>
              </a:rPr>
              <a:t>Strategic data project delivery</a:t>
            </a:r>
          </a:p>
          <a:p>
            <a:endParaRPr lang="en-GB" sz="1000" dirty="0">
              <a:solidFill>
                <a:srgbClr val="00148C"/>
              </a:solidFill>
            </a:endParaRPr>
          </a:p>
          <a:p>
            <a:r>
              <a:rPr lang="en-GB" sz="1000" dirty="0">
                <a:solidFill>
                  <a:srgbClr val="00148C"/>
                </a:solidFill>
              </a:rPr>
              <a:t>Scale up cost effective data delivery</a:t>
            </a:r>
          </a:p>
        </p:txBody>
      </p:sp>
    </p:spTree>
    <p:extLst>
      <p:ext uri="{BB962C8B-B14F-4D97-AF65-F5344CB8AC3E}">
        <p14:creationId xmlns:p14="http://schemas.microsoft.com/office/powerpoint/2010/main" val="212329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9075A-45C1-49C0-A1EC-FD61B5C67A49}"/>
              </a:ext>
            </a:extLst>
          </p:cNvPr>
          <p:cNvSpPr>
            <a:spLocks noGrp="1"/>
          </p:cNvSpPr>
          <p:nvPr>
            <p:ph type="title"/>
          </p:nvPr>
        </p:nvSpPr>
        <p:spPr/>
        <p:txBody>
          <a:bodyPr/>
          <a:lstStyle/>
          <a:p>
            <a:r>
              <a:rPr lang="en-GB" dirty="0"/>
              <a:t>Group Data Office Stakeholders</a:t>
            </a:r>
          </a:p>
        </p:txBody>
      </p:sp>
      <p:sp>
        <p:nvSpPr>
          <p:cNvPr id="3" name="Text Placeholder 2">
            <a:extLst>
              <a:ext uri="{FF2B5EF4-FFF2-40B4-BE49-F238E27FC236}">
                <a16:creationId xmlns:a16="http://schemas.microsoft.com/office/drawing/2014/main" id="{6F139D7C-E797-4B4C-94C8-BB3691644633}"/>
              </a:ext>
            </a:extLst>
          </p:cNvPr>
          <p:cNvSpPr>
            <a:spLocks noGrp="1"/>
          </p:cNvSpPr>
          <p:nvPr>
            <p:ph type="body" sz="quarter" idx="10"/>
          </p:nvPr>
        </p:nvSpPr>
        <p:spPr>
          <a:xfrm>
            <a:off x="629099" y="1255043"/>
            <a:ext cx="10933801" cy="375350"/>
          </a:xfrm>
        </p:spPr>
        <p:txBody>
          <a:bodyPr/>
          <a:lstStyle/>
          <a:p>
            <a:r>
              <a:rPr lang="en-GB" dirty="0"/>
              <a:t>Who are our key stakeholders?</a:t>
            </a:r>
          </a:p>
        </p:txBody>
      </p:sp>
      <p:graphicFrame>
        <p:nvGraphicFramePr>
          <p:cNvPr id="4" name="Table 4">
            <a:extLst>
              <a:ext uri="{FF2B5EF4-FFF2-40B4-BE49-F238E27FC236}">
                <a16:creationId xmlns:a16="http://schemas.microsoft.com/office/drawing/2014/main" id="{190EE915-3D18-4E20-B53F-EC1C87792371}"/>
              </a:ext>
            </a:extLst>
          </p:cNvPr>
          <p:cNvGraphicFramePr>
            <a:graphicFrameLocks noGrp="1"/>
          </p:cNvGraphicFramePr>
          <p:nvPr/>
        </p:nvGraphicFramePr>
        <p:xfrm>
          <a:off x="629098" y="1945639"/>
          <a:ext cx="10714637" cy="3606800"/>
        </p:xfrm>
        <a:graphic>
          <a:graphicData uri="http://schemas.openxmlformats.org/drawingml/2006/table">
            <a:tbl>
              <a:tblPr firstRow="1" bandRow="1">
                <a:tableStyleId>{5C22544A-7EE6-4342-B048-85BDC9FD1C3A}</a:tableStyleId>
              </a:tblPr>
              <a:tblGrid>
                <a:gridCol w="3355471">
                  <a:extLst>
                    <a:ext uri="{9D8B030D-6E8A-4147-A177-3AD203B41FA5}">
                      <a16:colId xmlns:a16="http://schemas.microsoft.com/office/drawing/2014/main" val="2337487941"/>
                    </a:ext>
                  </a:extLst>
                </a:gridCol>
                <a:gridCol w="7359166">
                  <a:extLst>
                    <a:ext uri="{9D8B030D-6E8A-4147-A177-3AD203B41FA5}">
                      <a16:colId xmlns:a16="http://schemas.microsoft.com/office/drawing/2014/main" val="893088320"/>
                    </a:ext>
                  </a:extLst>
                </a:gridCol>
              </a:tblGrid>
              <a:tr h="370840">
                <a:tc>
                  <a:txBody>
                    <a:bodyPr/>
                    <a:lstStyle/>
                    <a:p>
                      <a:r>
                        <a:rPr lang="en-GB" dirty="0"/>
                        <a:t>Stakeholder area</a:t>
                      </a:r>
                    </a:p>
                  </a:txBody>
                  <a:tcPr/>
                </a:tc>
                <a:tc>
                  <a:txBody>
                    <a:bodyPr/>
                    <a:lstStyle/>
                    <a:p>
                      <a:r>
                        <a:rPr lang="en-GB" dirty="0"/>
                        <a:t>Names</a:t>
                      </a:r>
                    </a:p>
                  </a:txBody>
                  <a:tcPr/>
                </a:tc>
                <a:extLst>
                  <a:ext uri="{0D108BD9-81ED-4DB2-BD59-A6C34878D82A}">
                    <a16:rowId xmlns:a16="http://schemas.microsoft.com/office/drawing/2014/main" val="3278132592"/>
                  </a:ext>
                </a:extLst>
              </a:tr>
              <a:tr h="370840">
                <a:tc>
                  <a:txBody>
                    <a:bodyPr/>
                    <a:lstStyle/>
                    <a:p>
                      <a:r>
                        <a:rPr lang="en-GB" dirty="0"/>
                        <a:t>BU Heads of Data</a:t>
                      </a:r>
                    </a:p>
                  </a:txBody>
                  <a:tcPr/>
                </a:tc>
                <a:tc>
                  <a:txBody>
                    <a:bodyPr/>
                    <a:lstStyle/>
                    <a:p>
                      <a:r>
                        <a:rPr lang="en-GB" dirty="0"/>
                        <a:t>Preston Large, Nicolas Raad, Alex Kanashiro, Keith Trilloe, Niall Branley, Gary Dionne</a:t>
                      </a:r>
                    </a:p>
                  </a:txBody>
                  <a:tcPr/>
                </a:tc>
                <a:extLst>
                  <a:ext uri="{0D108BD9-81ED-4DB2-BD59-A6C34878D82A}">
                    <a16:rowId xmlns:a16="http://schemas.microsoft.com/office/drawing/2014/main" val="382145902"/>
                  </a:ext>
                </a:extLst>
              </a:tr>
              <a:tr h="370840">
                <a:tc>
                  <a:txBody>
                    <a:bodyPr/>
                    <a:lstStyle/>
                    <a:p>
                      <a:r>
                        <a:rPr lang="en-GB" dirty="0"/>
                        <a:t>BU CIOs</a:t>
                      </a:r>
                    </a:p>
                  </a:txBody>
                  <a:tcPr/>
                </a:tc>
                <a:tc>
                  <a:txBody>
                    <a:bodyPr/>
                    <a:lstStyle/>
                    <a:p>
                      <a:r>
                        <a:rPr lang="en-GB" dirty="0"/>
                        <a:t>Bob, Krishna, (Sarah), Simon, Norma</a:t>
                      </a:r>
                    </a:p>
                  </a:txBody>
                  <a:tcPr/>
                </a:tc>
                <a:extLst>
                  <a:ext uri="{0D108BD9-81ED-4DB2-BD59-A6C34878D82A}">
                    <a16:rowId xmlns:a16="http://schemas.microsoft.com/office/drawing/2014/main" val="429735806"/>
                  </a:ext>
                </a:extLst>
              </a:tr>
              <a:tr h="370840">
                <a:tc>
                  <a:txBody>
                    <a:bodyPr/>
                    <a:lstStyle/>
                    <a:p>
                      <a:r>
                        <a:rPr lang="en-GB" dirty="0"/>
                        <a:t>BU Lead Data Architects</a:t>
                      </a:r>
                    </a:p>
                  </a:txBody>
                  <a:tcPr/>
                </a:tc>
                <a:tc>
                  <a:txBody>
                    <a:bodyPr/>
                    <a:lstStyle/>
                    <a:p>
                      <a:r>
                        <a:rPr lang="en-GB" dirty="0"/>
                        <a:t>Peter Lawrence, Joe, Rashmi, </a:t>
                      </a:r>
                    </a:p>
                  </a:txBody>
                  <a:tcPr/>
                </a:tc>
                <a:extLst>
                  <a:ext uri="{0D108BD9-81ED-4DB2-BD59-A6C34878D82A}">
                    <a16:rowId xmlns:a16="http://schemas.microsoft.com/office/drawing/2014/main" val="625140285"/>
                  </a:ext>
                </a:extLst>
              </a:tr>
              <a:tr h="370840">
                <a:tc>
                  <a:txBody>
                    <a:bodyPr/>
                    <a:lstStyle/>
                    <a:p>
                      <a:r>
                        <a:rPr lang="en-GB" dirty="0"/>
                        <a:t>BU Lead Data Governance</a:t>
                      </a:r>
                    </a:p>
                  </a:txBody>
                  <a:tcPr/>
                </a:tc>
                <a:tc>
                  <a:txBody>
                    <a:bodyPr/>
                    <a:lstStyle/>
                    <a:p>
                      <a:r>
                        <a:rPr lang="en-GB" dirty="0"/>
                        <a:t>Phil </a:t>
                      </a:r>
                      <a:r>
                        <a:rPr lang="en-GB" dirty="0" err="1"/>
                        <a:t>Kluko</a:t>
                      </a:r>
                      <a:r>
                        <a:rPr lang="en-GB" dirty="0"/>
                        <a:t>, Andrew Burns, Paul Wilson, Darya, </a:t>
                      </a:r>
                    </a:p>
                  </a:txBody>
                  <a:tcPr/>
                </a:tc>
                <a:extLst>
                  <a:ext uri="{0D108BD9-81ED-4DB2-BD59-A6C34878D82A}">
                    <a16:rowId xmlns:a16="http://schemas.microsoft.com/office/drawing/2014/main" val="3575108834"/>
                  </a:ext>
                </a:extLst>
              </a:tr>
              <a:tr h="370840">
                <a:tc>
                  <a:txBody>
                    <a:bodyPr/>
                    <a:lstStyle/>
                    <a:p>
                      <a:r>
                        <a:rPr lang="en-GB" dirty="0"/>
                        <a:t>Group Digital Acceleration</a:t>
                      </a:r>
                    </a:p>
                  </a:txBody>
                  <a:tcPr/>
                </a:tc>
                <a:tc>
                  <a:txBody>
                    <a:bodyPr/>
                    <a:lstStyle/>
                    <a:p>
                      <a:r>
                        <a:rPr lang="en-GB" dirty="0"/>
                        <a:t>Anil P, Vince M, Mike F, Shashi R</a:t>
                      </a:r>
                    </a:p>
                  </a:txBody>
                  <a:tcPr/>
                </a:tc>
                <a:extLst>
                  <a:ext uri="{0D108BD9-81ED-4DB2-BD59-A6C34878D82A}">
                    <a16:rowId xmlns:a16="http://schemas.microsoft.com/office/drawing/2014/main" val="2586725800"/>
                  </a:ext>
                </a:extLst>
              </a:tr>
              <a:tr h="370840">
                <a:tc>
                  <a:txBody>
                    <a:bodyPr/>
                    <a:lstStyle/>
                    <a:p>
                      <a:r>
                        <a:rPr lang="en-GB" dirty="0"/>
                        <a:t>Group CTO</a:t>
                      </a:r>
                    </a:p>
                  </a:txBody>
                  <a:tcPr/>
                </a:tc>
                <a:tc>
                  <a:txBody>
                    <a:bodyPr/>
                    <a:lstStyle/>
                    <a:p>
                      <a:r>
                        <a:rPr lang="en-GB" dirty="0"/>
                        <a:t>Shannon, Narayan, Bharat, Keith Vargas</a:t>
                      </a:r>
                    </a:p>
                  </a:txBody>
                  <a:tcPr/>
                </a:tc>
                <a:extLst>
                  <a:ext uri="{0D108BD9-81ED-4DB2-BD59-A6C34878D82A}">
                    <a16:rowId xmlns:a16="http://schemas.microsoft.com/office/drawing/2014/main" val="132102394"/>
                  </a:ext>
                </a:extLst>
              </a:tr>
              <a:tr h="370840">
                <a:tc>
                  <a:txBody>
                    <a:bodyPr/>
                    <a:lstStyle/>
                    <a:p>
                      <a:r>
                        <a:rPr lang="en-GB" dirty="0"/>
                        <a:t>BU Executives</a:t>
                      </a:r>
                    </a:p>
                  </a:txBody>
                  <a:tcPr/>
                </a:tc>
                <a:tc>
                  <a:txBody>
                    <a:bodyPr/>
                    <a:lstStyle/>
                    <a:p>
                      <a:r>
                        <a:rPr lang="en-GB" dirty="0"/>
                        <a:t>…….</a:t>
                      </a:r>
                    </a:p>
                  </a:txBody>
                  <a:tcPr/>
                </a:tc>
                <a:extLst>
                  <a:ext uri="{0D108BD9-81ED-4DB2-BD59-A6C34878D82A}">
                    <a16:rowId xmlns:a16="http://schemas.microsoft.com/office/drawing/2014/main" val="2126066680"/>
                  </a:ext>
                </a:extLst>
              </a:tr>
              <a:tr h="370840">
                <a:tc>
                  <a:txBody>
                    <a:bodyPr/>
                    <a:lstStyle/>
                    <a:p>
                      <a:r>
                        <a:rPr lang="en-GB" dirty="0"/>
                        <a:t>TDA </a:t>
                      </a:r>
                    </a:p>
                  </a:txBody>
                  <a:tcPr/>
                </a:tc>
                <a:tc>
                  <a:txBody>
                    <a:bodyPr/>
                    <a:lstStyle/>
                    <a:p>
                      <a:r>
                        <a:rPr lang="en-GB" dirty="0"/>
                        <a:t>All areas</a:t>
                      </a:r>
                    </a:p>
                  </a:txBody>
                  <a:tcPr/>
                </a:tc>
                <a:extLst>
                  <a:ext uri="{0D108BD9-81ED-4DB2-BD59-A6C34878D82A}">
                    <a16:rowId xmlns:a16="http://schemas.microsoft.com/office/drawing/2014/main" val="3602770958"/>
                  </a:ext>
                </a:extLst>
              </a:tr>
            </a:tbl>
          </a:graphicData>
        </a:graphic>
      </p:graphicFrame>
    </p:spTree>
    <p:extLst>
      <p:ext uri="{BB962C8B-B14F-4D97-AF65-F5344CB8AC3E}">
        <p14:creationId xmlns:p14="http://schemas.microsoft.com/office/powerpoint/2010/main" val="805593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3ED30-E54E-4FCF-80BD-150B67B9C6C8}"/>
              </a:ext>
            </a:extLst>
          </p:cNvPr>
          <p:cNvSpPr>
            <a:spLocks noGrp="1"/>
          </p:cNvSpPr>
          <p:nvPr>
            <p:ph type="title"/>
          </p:nvPr>
        </p:nvSpPr>
        <p:spPr>
          <a:xfrm>
            <a:off x="310822" y="200106"/>
            <a:ext cx="10933350" cy="443198"/>
          </a:xfrm>
        </p:spPr>
        <p:txBody>
          <a:bodyPr/>
          <a:lstStyle/>
          <a:p>
            <a:r>
              <a:rPr lang="en-GB" dirty="0"/>
              <a:t>Digital Transformation Engagement</a:t>
            </a:r>
          </a:p>
        </p:txBody>
      </p:sp>
      <p:pic>
        <p:nvPicPr>
          <p:cNvPr id="4" name="Picture 3">
            <a:extLst>
              <a:ext uri="{FF2B5EF4-FFF2-40B4-BE49-F238E27FC236}">
                <a16:creationId xmlns:a16="http://schemas.microsoft.com/office/drawing/2014/main" id="{8F2952B3-0582-40A9-BF2E-FC6872762B3C}"/>
              </a:ext>
            </a:extLst>
          </p:cNvPr>
          <p:cNvPicPr>
            <a:picLocks noChangeAspect="1"/>
          </p:cNvPicPr>
          <p:nvPr/>
        </p:nvPicPr>
        <p:blipFill>
          <a:blip r:embed="rId2"/>
          <a:stretch>
            <a:fillRect/>
          </a:stretch>
        </p:blipFill>
        <p:spPr>
          <a:xfrm>
            <a:off x="1298328" y="771388"/>
            <a:ext cx="9595343" cy="53152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761274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FAD0C-ED4A-48FD-B5FB-6D25B8EECE40}"/>
              </a:ext>
            </a:extLst>
          </p:cNvPr>
          <p:cNvSpPr>
            <a:spLocks noGrp="1"/>
          </p:cNvSpPr>
          <p:nvPr>
            <p:ph type="title"/>
          </p:nvPr>
        </p:nvSpPr>
        <p:spPr>
          <a:xfrm>
            <a:off x="336086" y="285334"/>
            <a:ext cx="10933350" cy="443198"/>
          </a:xfrm>
        </p:spPr>
        <p:txBody>
          <a:bodyPr/>
          <a:lstStyle/>
          <a:p>
            <a:r>
              <a:rPr lang="en-GB" dirty="0"/>
              <a:t>Digital Transformation Engagement</a:t>
            </a:r>
          </a:p>
        </p:txBody>
      </p:sp>
      <p:sp>
        <p:nvSpPr>
          <p:cNvPr id="4" name="Arrow: Pentagon 3">
            <a:extLst>
              <a:ext uri="{FF2B5EF4-FFF2-40B4-BE49-F238E27FC236}">
                <a16:creationId xmlns:a16="http://schemas.microsoft.com/office/drawing/2014/main" id="{1CAE5921-6199-4E86-B1A2-2EC1879F2314}"/>
              </a:ext>
            </a:extLst>
          </p:cNvPr>
          <p:cNvSpPr/>
          <p:nvPr/>
        </p:nvSpPr>
        <p:spPr>
          <a:xfrm>
            <a:off x="629998" y="3894829"/>
            <a:ext cx="1768143" cy="345056"/>
          </a:xfrm>
          <a:prstGeom prst="homePlate">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BU Strategy</a:t>
            </a:r>
          </a:p>
        </p:txBody>
      </p:sp>
      <p:sp>
        <p:nvSpPr>
          <p:cNvPr id="5" name="Arrow: Pentagon 4">
            <a:extLst>
              <a:ext uri="{FF2B5EF4-FFF2-40B4-BE49-F238E27FC236}">
                <a16:creationId xmlns:a16="http://schemas.microsoft.com/office/drawing/2014/main" id="{B164B23C-5E42-43F0-ACF8-2E0541A9FBDE}"/>
              </a:ext>
            </a:extLst>
          </p:cNvPr>
          <p:cNvSpPr/>
          <p:nvPr/>
        </p:nvSpPr>
        <p:spPr>
          <a:xfrm>
            <a:off x="629998" y="2015708"/>
            <a:ext cx="1768143" cy="345056"/>
          </a:xfrm>
          <a:prstGeom prst="homePlate">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Group Business Strategy</a:t>
            </a:r>
          </a:p>
        </p:txBody>
      </p:sp>
      <p:sp>
        <p:nvSpPr>
          <p:cNvPr id="6" name="Arrow: Pentagon 5">
            <a:extLst>
              <a:ext uri="{FF2B5EF4-FFF2-40B4-BE49-F238E27FC236}">
                <a16:creationId xmlns:a16="http://schemas.microsoft.com/office/drawing/2014/main" id="{902D7E61-7F03-47A9-9CC0-07C9F76AC4C2}"/>
              </a:ext>
            </a:extLst>
          </p:cNvPr>
          <p:cNvSpPr/>
          <p:nvPr/>
        </p:nvSpPr>
        <p:spPr>
          <a:xfrm>
            <a:off x="1058444" y="2486885"/>
            <a:ext cx="1339698" cy="345056"/>
          </a:xfrm>
          <a:prstGeom prst="homePlate">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Grp Digital Strategy</a:t>
            </a:r>
          </a:p>
        </p:txBody>
      </p:sp>
      <p:sp>
        <p:nvSpPr>
          <p:cNvPr id="7" name="Arrow: Pentagon 6">
            <a:extLst>
              <a:ext uri="{FF2B5EF4-FFF2-40B4-BE49-F238E27FC236}">
                <a16:creationId xmlns:a16="http://schemas.microsoft.com/office/drawing/2014/main" id="{6B5CD5EC-F226-4811-9F2D-099C4BEC3B80}"/>
              </a:ext>
            </a:extLst>
          </p:cNvPr>
          <p:cNvSpPr/>
          <p:nvPr/>
        </p:nvSpPr>
        <p:spPr>
          <a:xfrm>
            <a:off x="1058444" y="2957661"/>
            <a:ext cx="1339698" cy="345056"/>
          </a:xfrm>
          <a:prstGeom prst="homePlate">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Grp Data Strategy</a:t>
            </a:r>
          </a:p>
        </p:txBody>
      </p:sp>
      <p:sp>
        <p:nvSpPr>
          <p:cNvPr id="10" name="Arrow: Pentagon 9">
            <a:extLst>
              <a:ext uri="{FF2B5EF4-FFF2-40B4-BE49-F238E27FC236}">
                <a16:creationId xmlns:a16="http://schemas.microsoft.com/office/drawing/2014/main" id="{C7B3B3E5-C749-4564-A0F9-2A7CAC31EA01}"/>
              </a:ext>
            </a:extLst>
          </p:cNvPr>
          <p:cNvSpPr/>
          <p:nvPr/>
        </p:nvSpPr>
        <p:spPr>
          <a:xfrm>
            <a:off x="1058443" y="4801034"/>
            <a:ext cx="1339698" cy="345056"/>
          </a:xfrm>
          <a:prstGeom prst="homePlate">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BU Data Strategy</a:t>
            </a:r>
          </a:p>
        </p:txBody>
      </p:sp>
      <p:sp>
        <p:nvSpPr>
          <p:cNvPr id="11" name="Arrow: Pentagon 10">
            <a:extLst>
              <a:ext uri="{FF2B5EF4-FFF2-40B4-BE49-F238E27FC236}">
                <a16:creationId xmlns:a16="http://schemas.microsoft.com/office/drawing/2014/main" id="{207690AC-6685-480D-BB75-3D2BA25612FC}"/>
              </a:ext>
            </a:extLst>
          </p:cNvPr>
          <p:cNvSpPr/>
          <p:nvPr/>
        </p:nvSpPr>
        <p:spPr>
          <a:xfrm>
            <a:off x="1058443" y="4347931"/>
            <a:ext cx="1339698" cy="345056"/>
          </a:xfrm>
          <a:prstGeom prst="homePlate">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BU Roadmap</a:t>
            </a:r>
          </a:p>
        </p:txBody>
      </p:sp>
      <p:sp>
        <p:nvSpPr>
          <p:cNvPr id="12" name="Callout: Left Arrow 11">
            <a:extLst>
              <a:ext uri="{FF2B5EF4-FFF2-40B4-BE49-F238E27FC236}">
                <a16:creationId xmlns:a16="http://schemas.microsoft.com/office/drawing/2014/main" id="{BCF68806-E60F-4BD2-B638-A577B453AFA2}"/>
              </a:ext>
            </a:extLst>
          </p:cNvPr>
          <p:cNvSpPr/>
          <p:nvPr/>
        </p:nvSpPr>
        <p:spPr>
          <a:xfrm>
            <a:off x="2558143" y="2015708"/>
            <a:ext cx="1197428" cy="1287009"/>
          </a:xfrm>
          <a:prstGeom prst="leftArrowCallou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Influence, link, enable</a:t>
            </a:r>
          </a:p>
        </p:txBody>
      </p:sp>
      <p:sp>
        <p:nvSpPr>
          <p:cNvPr id="13" name="Callout: Left Arrow 12">
            <a:extLst>
              <a:ext uri="{FF2B5EF4-FFF2-40B4-BE49-F238E27FC236}">
                <a16:creationId xmlns:a16="http://schemas.microsoft.com/office/drawing/2014/main" id="{671F7C46-6CC8-4B3E-99E7-FA0691E904C1}"/>
              </a:ext>
            </a:extLst>
          </p:cNvPr>
          <p:cNvSpPr/>
          <p:nvPr/>
        </p:nvSpPr>
        <p:spPr>
          <a:xfrm>
            <a:off x="2558143" y="3894467"/>
            <a:ext cx="1197428" cy="1287009"/>
          </a:xfrm>
          <a:prstGeom prst="leftArrowCallout">
            <a:avLst/>
          </a:prstGeom>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Influence, link, enable</a:t>
            </a:r>
          </a:p>
        </p:txBody>
      </p:sp>
      <p:sp>
        <p:nvSpPr>
          <p:cNvPr id="14" name="Arrow: Pentagon 13">
            <a:extLst>
              <a:ext uri="{FF2B5EF4-FFF2-40B4-BE49-F238E27FC236}">
                <a16:creationId xmlns:a16="http://schemas.microsoft.com/office/drawing/2014/main" id="{E6D8B764-3A18-44E8-A317-6224A52E59AF}"/>
              </a:ext>
            </a:extLst>
          </p:cNvPr>
          <p:cNvSpPr/>
          <p:nvPr/>
        </p:nvSpPr>
        <p:spPr>
          <a:xfrm>
            <a:off x="4364966" y="1346059"/>
            <a:ext cx="7197036" cy="376348"/>
          </a:xfrm>
          <a:prstGeom prst="homePlate">
            <a:avLst/>
          </a:prstGeom>
          <a:solidFill>
            <a:schemeClr val="accent6">
              <a:lumMod val="20000"/>
              <a:lumOff val="80000"/>
            </a:schemeClr>
          </a:solidFill>
          <a:ln w="12700"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Digital Transformation</a:t>
            </a:r>
          </a:p>
        </p:txBody>
      </p:sp>
      <p:sp>
        <p:nvSpPr>
          <p:cNvPr id="18" name="Arrow: Pentagon 17">
            <a:extLst>
              <a:ext uri="{FF2B5EF4-FFF2-40B4-BE49-F238E27FC236}">
                <a16:creationId xmlns:a16="http://schemas.microsoft.com/office/drawing/2014/main" id="{499FB446-B93D-497B-8C22-85941F833BA1}"/>
              </a:ext>
            </a:extLst>
          </p:cNvPr>
          <p:cNvSpPr/>
          <p:nvPr/>
        </p:nvSpPr>
        <p:spPr>
          <a:xfrm>
            <a:off x="4450884" y="1994200"/>
            <a:ext cx="1928145" cy="376348"/>
          </a:xfrm>
          <a:prstGeom prst="homePlate">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Digital Hub</a:t>
            </a:r>
          </a:p>
        </p:txBody>
      </p:sp>
      <p:sp>
        <p:nvSpPr>
          <p:cNvPr id="19" name="Arrow: Pentagon 18">
            <a:extLst>
              <a:ext uri="{FF2B5EF4-FFF2-40B4-BE49-F238E27FC236}">
                <a16:creationId xmlns:a16="http://schemas.microsoft.com/office/drawing/2014/main" id="{565AA11F-38D9-42E5-B8E7-B9C36DF200E7}"/>
              </a:ext>
            </a:extLst>
          </p:cNvPr>
          <p:cNvSpPr/>
          <p:nvPr/>
        </p:nvSpPr>
        <p:spPr>
          <a:xfrm>
            <a:off x="4450884" y="2411553"/>
            <a:ext cx="1928145" cy="376348"/>
          </a:xfrm>
          <a:prstGeom prst="homePlate">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Data Products in </a:t>
            </a:r>
            <a:r>
              <a:rPr lang="en-GB" sz="1000" dirty="0" err="1">
                <a:solidFill>
                  <a:srgbClr val="00148C"/>
                </a:solidFill>
              </a:rPr>
              <a:t>GridStack</a:t>
            </a:r>
            <a:endParaRPr lang="en-GB" sz="1000" dirty="0">
              <a:solidFill>
                <a:srgbClr val="00148C"/>
              </a:solidFill>
            </a:endParaRPr>
          </a:p>
        </p:txBody>
      </p:sp>
      <p:sp>
        <p:nvSpPr>
          <p:cNvPr id="20" name="Arrow: Pentagon 19">
            <a:extLst>
              <a:ext uri="{FF2B5EF4-FFF2-40B4-BE49-F238E27FC236}">
                <a16:creationId xmlns:a16="http://schemas.microsoft.com/office/drawing/2014/main" id="{7E1F844B-5AE9-4B8F-A14D-D7216BCDE188}"/>
              </a:ext>
            </a:extLst>
          </p:cNvPr>
          <p:cNvSpPr/>
          <p:nvPr/>
        </p:nvSpPr>
        <p:spPr>
          <a:xfrm>
            <a:off x="6379029" y="3052652"/>
            <a:ext cx="1928145" cy="376348"/>
          </a:xfrm>
          <a:prstGeom prst="homePlate">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Digital Delivery</a:t>
            </a:r>
          </a:p>
        </p:txBody>
      </p:sp>
      <p:sp>
        <p:nvSpPr>
          <p:cNvPr id="21" name="Arrow: Pentagon 20">
            <a:extLst>
              <a:ext uri="{FF2B5EF4-FFF2-40B4-BE49-F238E27FC236}">
                <a16:creationId xmlns:a16="http://schemas.microsoft.com/office/drawing/2014/main" id="{2035B70E-6356-449C-8DD4-8D4E4519105A}"/>
              </a:ext>
            </a:extLst>
          </p:cNvPr>
          <p:cNvSpPr/>
          <p:nvPr/>
        </p:nvSpPr>
        <p:spPr>
          <a:xfrm>
            <a:off x="6379029" y="3530054"/>
            <a:ext cx="1928145" cy="376348"/>
          </a:xfrm>
          <a:prstGeom prst="homePlate">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000" dirty="0">
                <a:solidFill>
                  <a:srgbClr val="00148C"/>
                </a:solidFill>
              </a:rPr>
              <a:t>Hub Data Products</a:t>
            </a:r>
          </a:p>
        </p:txBody>
      </p:sp>
      <p:sp>
        <p:nvSpPr>
          <p:cNvPr id="22" name="Arrow: Pentagon 21">
            <a:extLst>
              <a:ext uri="{FF2B5EF4-FFF2-40B4-BE49-F238E27FC236}">
                <a16:creationId xmlns:a16="http://schemas.microsoft.com/office/drawing/2014/main" id="{3265E545-C058-44F8-ACC0-3C706ACE7BF5}"/>
              </a:ext>
            </a:extLst>
          </p:cNvPr>
          <p:cNvSpPr/>
          <p:nvPr/>
        </p:nvSpPr>
        <p:spPr>
          <a:xfrm>
            <a:off x="6379028" y="4001715"/>
            <a:ext cx="1928145" cy="376348"/>
          </a:xfrm>
          <a:prstGeom prst="homePlate">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000" dirty="0">
                <a:solidFill>
                  <a:srgbClr val="00148C"/>
                </a:solidFill>
              </a:rPr>
              <a:t>Business Data Products</a:t>
            </a:r>
          </a:p>
        </p:txBody>
      </p:sp>
      <p:sp>
        <p:nvSpPr>
          <p:cNvPr id="23" name="Arrow: Pentagon 22">
            <a:extLst>
              <a:ext uri="{FF2B5EF4-FFF2-40B4-BE49-F238E27FC236}">
                <a16:creationId xmlns:a16="http://schemas.microsoft.com/office/drawing/2014/main" id="{DF517FBE-1CF4-4A19-B68A-4AFCFF90372B}"/>
              </a:ext>
            </a:extLst>
          </p:cNvPr>
          <p:cNvSpPr/>
          <p:nvPr/>
        </p:nvSpPr>
        <p:spPr>
          <a:xfrm>
            <a:off x="4450884" y="4678925"/>
            <a:ext cx="1928145" cy="376348"/>
          </a:xfrm>
          <a:prstGeom prst="homePlate">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BU Data Transformation</a:t>
            </a:r>
          </a:p>
        </p:txBody>
      </p:sp>
      <p:sp>
        <p:nvSpPr>
          <p:cNvPr id="24" name="Arrow: Pentagon 23">
            <a:extLst>
              <a:ext uri="{FF2B5EF4-FFF2-40B4-BE49-F238E27FC236}">
                <a16:creationId xmlns:a16="http://schemas.microsoft.com/office/drawing/2014/main" id="{779AA9FF-AF42-4622-AACB-DF8B49C78CDA}"/>
              </a:ext>
            </a:extLst>
          </p:cNvPr>
          <p:cNvSpPr/>
          <p:nvPr/>
        </p:nvSpPr>
        <p:spPr>
          <a:xfrm>
            <a:off x="4450884" y="5096278"/>
            <a:ext cx="1928145" cy="376348"/>
          </a:xfrm>
          <a:prstGeom prst="homePlate">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Hub Data </a:t>
            </a:r>
            <a:r>
              <a:rPr lang="en-GB" sz="1000" dirty="0" err="1">
                <a:solidFill>
                  <a:srgbClr val="00148C"/>
                </a:solidFill>
              </a:rPr>
              <a:t>CoE</a:t>
            </a:r>
            <a:r>
              <a:rPr lang="en-GB" sz="1000" dirty="0">
                <a:solidFill>
                  <a:srgbClr val="00148C"/>
                </a:solidFill>
              </a:rPr>
              <a:t> support</a:t>
            </a:r>
          </a:p>
        </p:txBody>
      </p:sp>
      <p:sp>
        <p:nvSpPr>
          <p:cNvPr id="25" name="Arrow: Pentagon 24">
            <a:extLst>
              <a:ext uri="{FF2B5EF4-FFF2-40B4-BE49-F238E27FC236}">
                <a16:creationId xmlns:a16="http://schemas.microsoft.com/office/drawing/2014/main" id="{C27C24CB-F1FA-46DF-9D08-934A708AF71B}"/>
              </a:ext>
            </a:extLst>
          </p:cNvPr>
          <p:cNvSpPr/>
          <p:nvPr/>
        </p:nvSpPr>
        <p:spPr>
          <a:xfrm>
            <a:off x="8372487" y="5497675"/>
            <a:ext cx="1928145" cy="376348"/>
          </a:xfrm>
          <a:prstGeom prst="homePlate">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BU Data Culture</a:t>
            </a:r>
          </a:p>
        </p:txBody>
      </p:sp>
      <p:sp>
        <p:nvSpPr>
          <p:cNvPr id="26" name="Arrow: Pentagon 25">
            <a:extLst>
              <a:ext uri="{FF2B5EF4-FFF2-40B4-BE49-F238E27FC236}">
                <a16:creationId xmlns:a16="http://schemas.microsoft.com/office/drawing/2014/main" id="{88B3B405-77CF-427B-B5DA-41E9FDA697D7}"/>
              </a:ext>
            </a:extLst>
          </p:cNvPr>
          <p:cNvSpPr/>
          <p:nvPr/>
        </p:nvSpPr>
        <p:spPr>
          <a:xfrm>
            <a:off x="8372487" y="5915028"/>
            <a:ext cx="1928145" cy="376348"/>
          </a:xfrm>
          <a:prstGeom prst="homePlate">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Hub </a:t>
            </a:r>
            <a:r>
              <a:rPr lang="en-GB" sz="1000">
                <a:solidFill>
                  <a:srgbClr val="00148C"/>
                </a:solidFill>
              </a:rPr>
              <a:t>Data Culture </a:t>
            </a:r>
            <a:r>
              <a:rPr lang="en-GB" sz="1000" dirty="0">
                <a:solidFill>
                  <a:srgbClr val="00148C"/>
                </a:solidFill>
              </a:rPr>
              <a:t>support</a:t>
            </a:r>
          </a:p>
        </p:txBody>
      </p:sp>
      <p:sp>
        <p:nvSpPr>
          <p:cNvPr id="27" name="Arrow: Pentagon 26">
            <a:extLst>
              <a:ext uri="{FF2B5EF4-FFF2-40B4-BE49-F238E27FC236}">
                <a16:creationId xmlns:a16="http://schemas.microsoft.com/office/drawing/2014/main" id="{76073F48-41B4-41B4-8CD3-A848490FA1E5}"/>
              </a:ext>
            </a:extLst>
          </p:cNvPr>
          <p:cNvSpPr/>
          <p:nvPr/>
        </p:nvSpPr>
        <p:spPr>
          <a:xfrm>
            <a:off x="629998" y="1353003"/>
            <a:ext cx="3286394" cy="376348"/>
          </a:xfrm>
          <a:prstGeom prst="homePlate">
            <a:avLst/>
          </a:prstGeom>
          <a:solidFill>
            <a:schemeClr val="accent3">
              <a:lumMod val="20000"/>
              <a:lumOff val="80000"/>
            </a:schemeClr>
          </a:solidFill>
          <a:ln w="12700"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000" dirty="0">
                <a:solidFill>
                  <a:srgbClr val="00148C"/>
                </a:solidFill>
              </a:rPr>
              <a:t>Strategy, Op Model, Roadmap setting</a:t>
            </a:r>
          </a:p>
        </p:txBody>
      </p:sp>
      <p:sp>
        <p:nvSpPr>
          <p:cNvPr id="3" name="Rectangle 2">
            <a:extLst>
              <a:ext uri="{FF2B5EF4-FFF2-40B4-BE49-F238E27FC236}">
                <a16:creationId xmlns:a16="http://schemas.microsoft.com/office/drawing/2014/main" id="{4AB1935E-EC90-4461-8488-A3775C06E5B4}"/>
              </a:ext>
            </a:extLst>
          </p:cNvPr>
          <p:cNvSpPr/>
          <p:nvPr/>
        </p:nvSpPr>
        <p:spPr>
          <a:xfrm>
            <a:off x="4364966" y="1897811"/>
            <a:ext cx="2216989" cy="1038410"/>
          </a:xfrm>
          <a:prstGeom prst="rect">
            <a:avLst/>
          </a:prstGeom>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sz="1000" dirty="0">
              <a:solidFill>
                <a:srgbClr val="00148C"/>
              </a:solidFill>
            </a:endParaRPr>
          </a:p>
        </p:txBody>
      </p:sp>
      <p:sp>
        <p:nvSpPr>
          <p:cNvPr id="28" name="Rectangle 27">
            <a:extLst>
              <a:ext uri="{FF2B5EF4-FFF2-40B4-BE49-F238E27FC236}">
                <a16:creationId xmlns:a16="http://schemas.microsoft.com/office/drawing/2014/main" id="{B541825D-6454-402A-A5AA-69E070E9E0FA}"/>
              </a:ext>
            </a:extLst>
          </p:cNvPr>
          <p:cNvSpPr/>
          <p:nvPr/>
        </p:nvSpPr>
        <p:spPr>
          <a:xfrm>
            <a:off x="6197670" y="2972331"/>
            <a:ext cx="2506383" cy="1558273"/>
          </a:xfrm>
          <a:prstGeom prst="rect">
            <a:avLst/>
          </a:prstGeom>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sz="1000" dirty="0">
              <a:solidFill>
                <a:srgbClr val="00148C"/>
              </a:solidFill>
            </a:endParaRPr>
          </a:p>
        </p:txBody>
      </p:sp>
      <p:sp>
        <p:nvSpPr>
          <p:cNvPr id="29" name="Rectangle 28">
            <a:extLst>
              <a:ext uri="{FF2B5EF4-FFF2-40B4-BE49-F238E27FC236}">
                <a16:creationId xmlns:a16="http://schemas.microsoft.com/office/drawing/2014/main" id="{9FA5EACC-6FC5-4D29-AFE5-A1677CB06E3B}"/>
              </a:ext>
            </a:extLst>
          </p:cNvPr>
          <p:cNvSpPr/>
          <p:nvPr/>
        </p:nvSpPr>
        <p:spPr>
          <a:xfrm>
            <a:off x="4364966" y="4566714"/>
            <a:ext cx="2216989" cy="1038411"/>
          </a:xfrm>
          <a:prstGeom prst="rect">
            <a:avLst/>
          </a:prstGeom>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sz="1000" dirty="0">
              <a:solidFill>
                <a:srgbClr val="00148C"/>
              </a:solidFill>
            </a:endParaRPr>
          </a:p>
        </p:txBody>
      </p:sp>
      <p:sp>
        <p:nvSpPr>
          <p:cNvPr id="30" name="Rectangle 29">
            <a:extLst>
              <a:ext uri="{FF2B5EF4-FFF2-40B4-BE49-F238E27FC236}">
                <a16:creationId xmlns:a16="http://schemas.microsoft.com/office/drawing/2014/main" id="{77FA3731-57AD-4CD1-96D0-8B50D76C50D0}"/>
              </a:ext>
            </a:extLst>
          </p:cNvPr>
          <p:cNvSpPr/>
          <p:nvPr/>
        </p:nvSpPr>
        <p:spPr>
          <a:xfrm>
            <a:off x="8228064" y="5388217"/>
            <a:ext cx="2216989" cy="1038411"/>
          </a:xfrm>
          <a:prstGeom prst="rect">
            <a:avLst/>
          </a:prstGeom>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sz="1000" dirty="0">
              <a:solidFill>
                <a:srgbClr val="00148C"/>
              </a:solidFill>
            </a:endParaRPr>
          </a:p>
        </p:txBody>
      </p:sp>
      <p:sp>
        <p:nvSpPr>
          <p:cNvPr id="31" name="Text Placeholder 2">
            <a:extLst>
              <a:ext uri="{FF2B5EF4-FFF2-40B4-BE49-F238E27FC236}">
                <a16:creationId xmlns:a16="http://schemas.microsoft.com/office/drawing/2014/main" id="{3C9F8C8B-E5B4-4490-BF92-5DDA410BB766}"/>
              </a:ext>
            </a:extLst>
          </p:cNvPr>
          <p:cNvSpPr>
            <a:spLocks noGrp="1"/>
          </p:cNvSpPr>
          <p:nvPr>
            <p:ph type="body" sz="quarter" idx="10"/>
          </p:nvPr>
        </p:nvSpPr>
        <p:spPr>
          <a:xfrm>
            <a:off x="335635" y="849355"/>
            <a:ext cx="10933801" cy="375350"/>
          </a:xfrm>
        </p:spPr>
        <p:txBody>
          <a:bodyPr/>
          <a:lstStyle/>
          <a:p>
            <a:r>
              <a:rPr lang="en-GB" dirty="0"/>
              <a:t>How are we involved in the Digital Transformation</a:t>
            </a:r>
          </a:p>
        </p:txBody>
      </p:sp>
    </p:spTree>
    <p:extLst>
      <p:ext uri="{BB962C8B-B14F-4D97-AF65-F5344CB8AC3E}">
        <p14:creationId xmlns:p14="http://schemas.microsoft.com/office/powerpoint/2010/main" val="2328877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C1F3EF4-F7F7-41D9-93DC-67572DC28974}"/>
              </a:ext>
            </a:extLst>
          </p:cNvPr>
          <p:cNvSpPr>
            <a:spLocks noGrp="1"/>
          </p:cNvSpPr>
          <p:nvPr>
            <p:ph type="ftr" sz="quarter" idx="10"/>
          </p:nvPr>
        </p:nvSpPr>
        <p:spPr/>
        <p:txBody>
          <a:bodyPr/>
          <a:lstStyle/>
          <a:p>
            <a:pPr>
              <a:tabLst>
                <a:tab pos="1318651" algn="l"/>
              </a:tabLst>
            </a:pPr>
            <a:r>
              <a:rPr lang="en-GB"/>
              <a:t>| TDA Leadership day Planning | Nov 2021</a:t>
            </a:r>
            <a:endParaRPr lang="fr-FR" dirty="0"/>
          </a:p>
        </p:txBody>
      </p:sp>
      <p:sp>
        <p:nvSpPr>
          <p:cNvPr id="3" name="Title 2">
            <a:extLst>
              <a:ext uri="{FF2B5EF4-FFF2-40B4-BE49-F238E27FC236}">
                <a16:creationId xmlns:a16="http://schemas.microsoft.com/office/drawing/2014/main" id="{C56BB4D3-FA85-4A5E-AA26-F35403925B68}"/>
              </a:ext>
            </a:extLst>
          </p:cNvPr>
          <p:cNvSpPr>
            <a:spLocks noGrp="1"/>
          </p:cNvSpPr>
          <p:nvPr>
            <p:ph type="title"/>
          </p:nvPr>
        </p:nvSpPr>
        <p:spPr/>
        <p:txBody>
          <a:bodyPr/>
          <a:lstStyle/>
          <a:p>
            <a:r>
              <a:rPr lang="en-GB" dirty="0"/>
              <a:t>Roadmap detailed – Data &amp; Analytics   </a:t>
            </a:r>
          </a:p>
        </p:txBody>
      </p:sp>
      <p:cxnSp>
        <p:nvCxnSpPr>
          <p:cNvPr id="5" name="Straight Connector 4">
            <a:extLst>
              <a:ext uri="{FF2B5EF4-FFF2-40B4-BE49-F238E27FC236}">
                <a16:creationId xmlns:a16="http://schemas.microsoft.com/office/drawing/2014/main" id="{C2F7EDE2-DD05-4ECD-9021-2B17516D66B1}"/>
              </a:ext>
            </a:extLst>
          </p:cNvPr>
          <p:cNvCxnSpPr>
            <a:cxnSpLocks/>
          </p:cNvCxnSpPr>
          <p:nvPr/>
        </p:nvCxnSpPr>
        <p:spPr bwMode="auto">
          <a:xfrm>
            <a:off x="428625" y="1704975"/>
            <a:ext cx="11479003" cy="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6" name="Oval 5">
            <a:extLst>
              <a:ext uri="{FF2B5EF4-FFF2-40B4-BE49-F238E27FC236}">
                <a16:creationId xmlns:a16="http://schemas.microsoft.com/office/drawing/2014/main" id="{BEFE2886-3086-434B-97AA-A7B829DB883B}"/>
              </a:ext>
            </a:extLst>
          </p:cNvPr>
          <p:cNvSpPr/>
          <p:nvPr/>
        </p:nvSpPr>
        <p:spPr bwMode="auto">
          <a:xfrm>
            <a:off x="2276343" y="1486841"/>
            <a:ext cx="388558" cy="388558"/>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dirty="0" err="1">
              <a:solidFill>
                <a:schemeClr val="bg1"/>
              </a:solidFill>
              <a:latin typeface="+mn-lt"/>
              <a:cs typeface="Arial"/>
            </a:endParaRPr>
          </a:p>
        </p:txBody>
      </p:sp>
      <p:sp>
        <p:nvSpPr>
          <p:cNvPr id="7" name="Oval 6">
            <a:extLst>
              <a:ext uri="{FF2B5EF4-FFF2-40B4-BE49-F238E27FC236}">
                <a16:creationId xmlns:a16="http://schemas.microsoft.com/office/drawing/2014/main" id="{D9825260-C153-493C-9C5D-0B0B33D7B2D8}"/>
              </a:ext>
            </a:extLst>
          </p:cNvPr>
          <p:cNvSpPr/>
          <p:nvPr/>
        </p:nvSpPr>
        <p:spPr bwMode="auto">
          <a:xfrm>
            <a:off x="4910342" y="1485901"/>
            <a:ext cx="390439" cy="390439"/>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dirty="0" err="1">
              <a:solidFill>
                <a:schemeClr val="bg1"/>
              </a:solidFill>
              <a:latin typeface="+mn-lt"/>
              <a:cs typeface="Arial"/>
            </a:endParaRPr>
          </a:p>
        </p:txBody>
      </p:sp>
      <p:sp>
        <p:nvSpPr>
          <p:cNvPr id="8" name="Oval 7">
            <a:extLst>
              <a:ext uri="{FF2B5EF4-FFF2-40B4-BE49-F238E27FC236}">
                <a16:creationId xmlns:a16="http://schemas.microsoft.com/office/drawing/2014/main" id="{300B575E-32E3-4D79-8B30-CBA080BC4341}"/>
              </a:ext>
            </a:extLst>
          </p:cNvPr>
          <p:cNvSpPr/>
          <p:nvPr/>
        </p:nvSpPr>
        <p:spPr bwMode="auto">
          <a:xfrm>
            <a:off x="7506437" y="1485901"/>
            <a:ext cx="390439" cy="390439"/>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dirty="0" err="1">
              <a:solidFill>
                <a:schemeClr val="bg1"/>
              </a:solidFill>
              <a:latin typeface="+mn-lt"/>
              <a:cs typeface="Arial"/>
            </a:endParaRPr>
          </a:p>
        </p:txBody>
      </p:sp>
      <p:sp>
        <p:nvSpPr>
          <p:cNvPr id="9" name="Oval 8">
            <a:extLst>
              <a:ext uri="{FF2B5EF4-FFF2-40B4-BE49-F238E27FC236}">
                <a16:creationId xmlns:a16="http://schemas.microsoft.com/office/drawing/2014/main" id="{B9438CC9-A4B7-41C4-9954-3E9024D2821A}"/>
              </a:ext>
            </a:extLst>
          </p:cNvPr>
          <p:cNvSpPr/>
          <p:nvPr/>
        </p:nvSpPr>
        <p:spPr bwMode="auto">
          <a:xfrm>
            <a:off x="9965912" y="1485901"/>
            <a:ext cx="390439" cy="390439"/>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dirty="0" err="1">
              <a:solidFill>
                <a:schemeClr val="bg1"/>
              </a:solidFill>
              <a:latin typeface="+mn-lt"/>
              <a:cs typeface="Arial"/>
            </a:endParaRPr>
          </a:p>
        </p:txBody>
      </p:sp>
      <p:cxnSp>
        <p:nvCxnSpPr>
          <p:cNvPr id="11" name="Straight Connector 10">
            <a:extLst>
              <a:ext uri="{FF2B5EF4-FFF2-40B4-BE49-F238E27FC236}">
                <a16:creationId xmlns:a16="http://schemas.microsoft.com/office/drawing/2014/main" id="{ED38508A-9706-4082-AB73-CA67E621BB38}"/>
              </a:ext>
            </a:extLst>
          </p:cNvPr>
          <p:cNvCxnSpPr/>
          <p:nvPr/>
        </p:nvCxnSpPr>
        <p:spPr bwMode="auto">
          <a:xfrm>
            <a:off x="572878" y="3149112"/>
            <a:ext cx="11334750" cy="0"/>
          </a:xfrm>
          <a:prstGeom prst="line">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2" name="Straight Connector 11">
            <a:extLst>
              <a:ext uri="{FF2B5EF4-FFF2-40B4-BE49-F238E27FC236}">
                <a16:creationId xmlns:a16="http://schemas.microsoft.com/office/drawing/2014/main" id="{DCBD2824-D219-4DC4-8495-0C87373B9E1F}"/>
              </a:ext>
            </a:extLst>
          </p:cNvPr>
          <p:cNvCxnSpPr/>
          <p:nvPr/>
        </p:nvCxnSpPr>
        <p:spPr bwMode="auto">
          <a:xfrm>
            <a:off x="612317" y="4503132"/>
            <a:ext cx="11334750" cy="0"/>
          </a:xfrm>
          <a:prstGeom prst="line">
            <a:avLst/>
          </a:prstGeom>
          <a:ln>
            <a:headEnd type="none" w="med" len="med"/>
            <a:tailEnd type="none" w="med" len="med"/>
          </a:ln>
        </p:spPr>
        <p:style>
          <a:lnRef idx="2">
            <a:schemeClr val="accent5"/>
          </a:lnRef>
          <a:fillRef idx="0">
            <a:schemeClr val="accent5"/>
          </a:fillRef>
          <a:effectRef idx="1">
            <a:schemeClr val="accent5"/>
          </a:effectRef>
          <a:fontRef idx="minor">
            <a:schemeClr val="tx1"/>
          </a:fontRef>
        </p:style>
      </p:cxnSp>
      <p:cxnSp>
        <p:nvCxnSpPr>
          <p:cNvPr id="13" name="Straight Connector 12">
            <a:extLst>
              <a:ext uri="{FF2B5EF4-FFF2-40B4-BE49-F238E27FC236}">
                <a16:creationId xmlns:a16="http://schemas.microsoft.com/office/drawing/2014/main" id="{D5E6D5FF-B401-4CA5-9DA4-FA313838AD2E}"/>
              </a:ext>
            </a:extLst>
          </p:cNvPr>
          <p:cNvCxnSpPr/>
          <p:nvPr/>
        </p:nvCxnSpPr>
        <p:spPr bwMode="auto">
          <a:xfrm>
            <a:off x="612317" y="5798532"/>
            <a:ext cx="11334750" cy="0"/>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sp>
        <p:nvSpPr>
          <p:cNvPr id="14" name="TextBox 13">
            <a:extLst>
              <a:ext uri="{FF2B5EF4-FFF2-40B4-BE49-F238E27FC236}">
                <a16:creationId xmlns:a16="http://schemas.microsoft.com/office/drawing/2014/main" id="{3B64C386-0763-496E-B703-8889068D3927}"/>
              </a:ext>
            </a:extLst>
          </p:cNvPr>
          <p:cNvSpPr txBox="1"/>
          <p:nvPr/>
        </p:nvSpPr>
        <p:spPr bwMode="auto">
          <a:xfrm>
            <a:off x="428623" y="2389411"/>
            <a:ext cx="100012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050" b="1" kern="0" dirty="0">
                <a:solidFill>
                  <a:schemeClr val="tx1"/>
                </a:solidFill>
                <a:latin typeface="+mn-lt"/>
                <a:ea typeface="+mn-ea"/>
              </a:rPr>
              <a:t>Licence to Operate</a:t>
            </a:r>
          </a:p>
        </p:txBody>
      </p:sp>
      <p:sp>
        <p:nvSpPr>
          <p:cNvPr id="15" name="TextBox 14">
            <a:extLst>
              <a:ext uri="{FF2B5EF4-FFF2-40B4-BE49-F238E27FC236}">
                <a16:creationId xmlns:a16="http://schemas.microsoft.com/office/drawing/2014/main" id="{418A34A7-4B0D-4672-8A53-339D7B5056D4}"/>
              </a:ext>
            </a:extLst>
          </p:cNvPr>
          <p:cNvSpPr txBox="1"/>
          <p:nvPr/>
        </p:nvSpPr>
        <p:spPr bwMode="auto">
          <a:xfrm>
            <a:off x="428625" y="3627144"/>
            <a:ext cx="108585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050" b="1" kern="0" dirty="0">
                <a:solidFill>
                  <a:schemeClr val="tx1"/>
                </a:solidFill>
                <a:latin typeface="+mn-lt"/>
                <a:ea typeface="+mn-ea"/>
              </a:rPr>
              <a:t>Skills &amp; Capabilities</a:t>
            </a:r>
          </a:p>
        </p:txBody>
      </p:sp>
      <p:sp>
        <p:nvSpPr>
          <p:cNvPr id="16" name="TextBox 15">
            <a:extLst>
              <a:ext uri="{FF2B5EF4-FFF2-40B4-BE49-F238E27FC236}">
                <a16:creationId xmlns:a16="http://schemas.microsoft.com/office/drawing/2014/main" id="{2B05E923-C0EF-4340-A0E6-20967FDA91B4}"/>
              </a:ext>
            </a:extLst>
          </p:cNvPr>
          <p:cNvSpPr txBox="1"/>
          <p:nvPr/>
        </p:nvSpPr>
        <p:spPr bwMode="auto">
          <a:xfrm>
            <a:off x="428624" y="4864878"/>
            <a:ext cx="100012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050" b="1" kern="0" dirty="0">
                <a:solidFill>
                  <a:schemeClr val="tx1"/>
                </a:solidFill>
                <a:latin typeface="+mn-lt"/>
                <a:ea typeface="+mn-ea"/>
              </a:rPr>
              <a:t>Tangible Outcomes</a:t>
            </a:r>
          </a:p>
        </p:txBody>
      </p:sp>
      <p:sp>
        <p:nvSpPr>
          <p:cNvPr id="17" name="TextBox 16">
            <a:extLst>
              <a:ext uri="{FF2B5EF4-FFF2-40B4-BE49-F238E27FC236}">
                <a16:creationId xmlns:a16="http://schemas.microsoft.com/office/drawing/2014/main" id="{83C3DCC1-BF3D-4C7F-A20B-7E88C2E6DF4D}"/>
              </a:ext>
            </a:extLst>
          </p:cNvPr>
          <p:cNvSpPr txBox="1"/>
          <p:nvPr/>
        </p:nvSpPr>
        <p:spPr bwMode="auto">
          <a:xfrm>
            <a:off x="1320437" y="1138378"/>
            <a:ext cx="234995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000" b="1" kern="0" dirty="0">
                <a:solidFill>
                  <a:schemeClr val="tx1"/>
                </a:solidFill>
                <a:latin typeface="+mn-lt"/>
                <a:ea typeface="+mn-ea"/>
              </a:rPr>
              <a:t>Already in place </a:t>
            </a:r>
          </a:p>
        </p:txBody>
      </p:sp>
      <p:sp>
        <p:nvSpPr>
          <p:cNvPr id="18" name="TextBox 17">
            <a:extLst>
              <a:ext uri="{FF2B5EF4-FFF2-40B4-BE49-F238E27FC236}">
                <a16:creationId xmlns:a16="http://schemas.microsoft.com/office/drawing/2014/main" id="{E7DB5360-114C-4766-B027-5A1BD8746B8C}"/>
              </a:ext>
            </a:extLst>
          </p:cNvPr>
          <p:cNvSpPr txBox="1"/>
          <p:nvPr/>
        </p:nvSpPr>
        <p:spPr bwMode="auto">
          <a:xfrm>
            <a:off x="3954436" y="1042026"/>
            <a:ext cx="2349958"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000" b="1" kern="0" dirty="0">
                <a:solidFill>
                  <a:schemeClr val="tx1"/>
                </a:solidFill>
                <a:latin typeface="+mn-lt"/>
                <a:ea typeface="+mn-ea"/>
              </a:rPr>
              <a:t>Quick wins </a:t>
            </a:r>
          </a:p>
          <a:p>
            <a:pPr algn="ctr">
              <a:spcAft>
                <a:spcPts val="600"/>
              </a:spcAft>
              <a:buClr>
                <a:schemeClr val="tx1"/>
              </a:buClr>
            </a:pPr>
            <a:r>
              <a:rPr lang="en-GB" sz="1000" b="1" kern="0" dirty="0">
                <a:solidFill>
                  <a:schemeClr val="tx1"/>
                </a:solidFill>
                <a:latin typeface="+mn-lt"/>
                <a:ea typeface="+mn-ea"/>
              </a:rPr>
              <a:t>(pre March ’22)</a:t>
            </a:r>
          </a:p>
        </p:txBody>
      </p:sp>
      <p:sp>
        <p:nvSpPr>
          <p:cNvPr id="19" name="TextBox 18">
            <a:extLst>
              <a:ext uri="{FF2B5EF4-FFF2-40B4-BE49-F238E27FC236}">
                <a16:creationId xmlns:a16="http://schemas.microsoft.com/office/drawing/2014/main" id="{3DD603C5-BFEA-455A-A805-8013D0848C01}"/>
              </a:ext>
            </a:extLst>
          </p:cNvPr>
          <p:cNvSpPr txBox="1"/>
          <p:nvPr/>
        </p:nvSpPr>
        <p:spPr bwMode="auto">
          <a:xfrm>
            <a:off x="6588435" y="1180918"/>
            <a:ext cx="234995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000" b="1" kern="0" dirty="0"/>
              <a:t>FY23 Q1&amp;2</a:t>
            </a:r>
            <a:endParaRPr lang="en-GB" sz="1000" b="1" kern="0" dirty="0">
              <a:solidFill>
                <a:schemeClr val="tx1"/>
              </a:solidFill>
            </a:endParaRPr>
          </a:p>
        </p:txBody>
      </p:sp>
      <p:sp>
        <p:nvSpPr>
          <p:cNvPr id="20" name="TextBox 19">
            <a:extLst>
              <a:ext uri="{FF2B5EF4-FFF2-40B4-BE49-F238E27FC236}">
                <a16:creationId xmlns:a16="http://schemas.microsoft.com/office/drawing/2014/main" id="{1D10255C-96FC-48E5-B429-7348211D10D0}"/>
              </a:ext>
            </a:extLst>
          </p:cNvPr>
          <p:cNvSpPr txBox="1"/>
          <p:nvPr/>
        </p:nvSpPr>
        <p:spPr bwMode="auto">
          <a:xfrm>
            <a:off x="9010006" y="1124261"/>
            <a:ext cx="234995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000" b="1" kern="0" dirty="0"/>
              <a:t>FY23</a:t>
            </a:r>
            <a:r>
              <a:rPr lang="en-GB" sz="1400" b="1" kern="0" dirty="0"/>
              <a:t> </a:t>
            </a:r>
            <a:r>
              <a:rPr lang="en-GB" sz="1000" b="1" kern="0" dirty="0"/>
              <a:t>3&amp;4</a:t>
            </a:r>
            <a:endParaRPr lang="en-GB" sz="1000" b="1" kern="0" dirty="0">
              <a:solidFill>
                <a:schemeClr val="tx1"/>
              </a:solidFill>
              <a:latin typeface="+mn-lt"/>
              <a:ea typeface="+mn-ea"/>
            </a:endParaRPr>
          </a:p>
        </p:txBody>
      </p:sp>
      <p:sp>
        <p:nvSpPr>
          <p:cNvPr id="21" name="TextBox 20">
            <a:extLst>
              <a:ext uri="{FF2B5EF4-FFF2-40B4-BE49-F238E27FC236}">
                <a16:creationId xmlns:a16="http://schemas.microsoft.com/office/drawing/2014/main" id="{5A24C93E-A6DD-49EB-ABA3-F2F7288CC2FB}"/>
              </a:ext>
            </a:extLst>
          </p:cNvPr>
          <p:cNvSpPr txBox="1"/>
          <p:nvPr/>
        </p:nvSpPr>
        <p:spPr bwMode="auto">
          <a:xfrm>
            <a:off x="4127249" y="1877969"/>
            <a:ext cx="2386172" cy="123422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285750" indent="-285750">
              <a:spcAft>
                <a:spcPts val="600"/>
              </a:spcAft>
              <a:buClr>
                <a:schemeClr val="tx1"/>
              </a:buClr>
              <a:buFont typeface="Arial" panose="020B0604020202020204" pitchFamily="34" charset="0"/>
              <a:buChar char="•"/>
            </a:pPr>
            <a:r>
              <a:rPr lang="en-GB" sz="1000" kern="0" dirty="0"/>
              <a:t>Operating Model aligned: </a:t>
            </a:r>
            <a:r>
              <a:rPr lang="en-GB" sz="1000" kern="0" dirty="0" err="1"/>
              <a:t>DataOffice</a:t>
            </a:r>
            <a:r>
              <a:rPr lang="en-GB" sz="1000" kern="0" dirty="0"/>
              <a:t> / </a:t>
            </a:r>
            <a:r>
              <a:rPr lang="en-GB" sz="1000" kern="0" dirty="0" err="1"/>
              <a:t>GridStack</a:t>
            </a:r>
            <a:r>
              <a:rPr lang="en-GB" sz="1000" kern="0" dirty="0"/>
              <a:t> / Data Engineering / BPR</a:t>
            </a:r>
          </a:p>
          <a:p>
            <a:pPr marL="285750" indent="-285750">
              <a:spcAft>
                <a:spcPts val="600"/>
              </a:spcAft>
              <a:buClr>
                <a:schemeClr val="tx1"/>
              </a:buClr>
              <a:buFont typeface="Arial" panose="020B0604020202020204" pitchFamily="34" charset="0"/>
              <a:buChar char="•"/>
            </a:pPr>
            <a:r>
              <a:rPr lang="en-GB" sz="1000" kern="0" dirty="0"/>
              <a:t>Enterprise Data Governance active (decisions on </a:t>
            </a:r>
            <a:r>
              <a:rPr lang="en-GB" sz="1000" kern="0" dirty="0" err="1"/>
              <a:t>GridStack</a:t>
            </a:r>
            <a:r>
              <a:rPr lang="en-GB" sz="1000" kern="0" dirty="0"/>
              <a:t> capabilities and cross BU data decisions)</a:t>
            </a:r>
          </a:p>
          <a:p>
            <a:pPr marL="285750" indent="-285750">
              <a:spcAft>
                <a:spcPts val="600"/>
              </a:spcAft>
              <a:buClr>
                <a:schemeClr val="tx1"/>
              </a:buClr>
              <a:buFont typeface="Arial" panose="020B0604020202020204" pitchFamily="34" charset="0"/>
              <a:buChar char="•"/>
            </a:pPr>
            <a:r>
              <a:rPr lang="en-GB" sz="1000" kern="0" dirty="0" err="1"/>
              <a:t>GridStack</a:t>
            </a:r>
            <a:r>
              <a:rPr lang="en-GB" sz="1000" kern="0" dirty="0"/>
              <a:t> hub product owners from Data Office in role</a:t>
            </a:r>
          </a:p>
        </p:txBody>
      </p:sp>
      <p:sp>
        <p:nvSpPr>
          <p:cNvPr id="22" name="TextBox 21">
            <a:extLst>
              <a:ext uri="{FF2B5EF4-FFF2-40B4-BE49-F238E27FC236}">
                <a16:creationId xmlns:a16="http://schemas.microsoft.com/office/drawing/2014/main" id="{471DC7E6-C59A-48E9-996D-A4207361E577}"/>
              </a:ext>
            </a:extLst>
          </p:cNvPr>
          <p:cNvSpPr txBox="1"/>
          <p:nvPr/>
        </p:nvSpPr>
        <p:spPr bwMode="auto">
          <a:xfrm>
            <a:off x="1514476" y="1877970"/>
            <a:ext cx="2512402" cy="13080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285750" indent="-285750" algn="l">
              <a:spcAft>
                <a:spcPts val="600"/>
              </a:spcAft>
              <a:buClr>
                <a:schemeClr val="tx1"/>
              </a:buClr>
              <a:buFont typeface="Arial" panose="020B0604020202020204" pitchFamily="34" charset="0"/>
              <a:buChar char="•"/>
            </a:pPr>
            <a:r>
              <a:rPr lang="en-GB" sz="1000" b="0" kern="0" dirty="0">
                <a:solidFill>
                  <a:schemeClr val="tx1"/>
                </a:solidFill>
                <a:latin typeface="+mn-lt"/>
                <a:ea typeface="+mn-ea"/>
              </a:rPr>
              <a:t>Group Data Strategy set</a:t>
            </a:r>
          </a:p>
          <a:p>
            <a:pPr marL="285750" indent="-285750" algn="l">
              <a:spcAft>
                <a:spcPts val="600"/>
              </a:spcAft>
              <a:buClr>
                <a:schemeClr val="tx1"/>
              </a:buClr>
              <a:buFont typeface="Arial" panose="020B0604020202020204" pitchFamily="34" charset="0"/>
              <a:buChar char="•"/>
            </a:pPr>
            <a:r>
              <a:rPr lang="en-GB" sz="1000" b="0" kern="0" dirty="0">
                <a:solidFill>
                  <a:schemeClr val="tx1"/>
                </a:solidFill>
                <a:latin typeface="+mn-lt"/>
                <a:ea typeface="+mn-ea"/>
              </a:rPr>
              <a:t>Group wide Data Collaboration started</a:t>
            </a:r>
          </a:p>
          <a:p>
            <a:pPr marL="285750" indent="-285750" algn="l">
              <a:spcAft>
                <a:spcPts val="600"/>
              </a:spcAft>
              <a:buClr>
                <a:schemeClr val="tx1"/>
              </a:buClr>
              <a:buFont typeface="Arial" panose="020B0604020202020204" pitchFamily="34" charset="0"/>
              <a:buChar char="•"/>
            </a:pPr>
            <a:r>
              <a:rPr lang="en-GB" sz="1000" kern="0" dirty="0"/>
              <a:t>Enterprise Data Strategy Governance model initiated</a:t>
            </a:r>
          </a:p>
          <a:p>
            <a:pPr marL="285750" indent="-285750">
              <a:spcAft>
                <a:spcPts val="600"/>
              </a:spcAft>
              <a:buClr>
                <a:schemeClr val="tx1"/>
              </a:buClr>
              <a:buFont typeface="Arial" panose="020B0604020202020204" pitchFamily="34" charset="0"/>
              <a:buChar char="•"/>
            </a:pPr>
            <a:r>
              <a:rPr lang="en-GB" sz="1000" kern="0" dirty="0"/>
              <a:t>Enterprise Data Platform foundation implemented &amp; </a:t>
            </a:r>
            <a:r>
              <a:rPr lang="en-GB" sz="1000" kern="0" dirty="0" err="1"/>
              <a:t>GridStack</a:t>
            </a:r>
            <a:r>
              <a:rPr lang="en-GB" sz="1000" kern="0" dirty="0"/>
              <a:t> aligned</a:t>
            </a:r>
          </a:p>
        </p:txBody>
      </p:sp>
      <p:sp>
        <p:nvSpPr>
          <p:cNvPr id="23" name="TextBox 22">
            <a:extLst>
              <a:ext uri="{FF2B5EF4-FFF2-40B4-BE49-F238E27FC236}">
                <a16:creationId xmlns:a16="http://schemas.microsoft.com/office/drawing/2014/main" id="{CEDE0AF3-895B-42A7-A929-B54C540986AB}"/>
              </a:ext>
            </a:extLst>
          </p:cNvPr>
          <p:cNvSpPr txBox="1"/>
          <p:nvPr/>
        </p:nvSpPr>
        <p:spPr bwMode="auto">
          <a:xfrm>
            <a:off x="6655099" y="1901052"/>
            <a:ext cx="2344862" cy="121114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285750" indent="-285750">
              <a:spcAft>
                <a:spcPts val="600"/>
              </a:spcAft>
              <a:buClr>
                <a:schemeClr val="tx1"/>
              </a:buClr>
              <a:buFont typeface="Arial" panose="020B0604020202020204" pitchFamily="34" charset="0"/>
              <a:buChar char="•"/>
            </a:pPr>
            <a:r>
              <a:rPr lang="en-GB" sz="1000" kern="0" dirty="0"/>
              <a:t>BU Data Strategy status and content consolidated</a:t>
            </a:r>
          </a:p>
          <a:p>
            <a:pPr marL="285750" indent="-285750">
              <a:spcAft>
                <a:spcPts val="600"/>
              </a:spcAft>
              <a:buClr>
                <a:schemeClr val="tx1"/>
              </a:buClr>
              <a:buFont typeface="Arial" panose="020B0604020202020204" pitchFamily="34" charset="0"/>
              <a:buChar char="•"/>
            </a:pPr>
            <a:r>
              <a:rPr lang="en-GB" sz="1000" kern="0" dirty="0"/>
              <a:t>Collaborative cross BU data opportunities proposed</a:t>
            </a:r>
          </a:p>
          <a:p>
            <a:pPr marL="285750" indent="-285750">
              <a:spcAft>
                <a:spcPts val="600"/>
              </a:spcAft>
              <a:buClr>
                <a:schemeClr val="tx1"/>
              </a:buClr>
              <a:buFont typeface="Arial" panose="020B0604020202020204" pitchFamily="34" charset="0"/>
              <a:buChar char="•"/>
            </a:pPr>
            <a:r>
              <a:rPr lang="en-GB" sz="1000" kern="0" dirty="0"/>
              <a:t>Advanced Analytics (DS/AI) importance understood and </a:t>
            </a:r>
            <a:r>
              <a:rPr lang="en-GB" sz="1000" kern="0" dirty="0" err="1"/>
              <a:t>CoE</a:t>
            </a:r>
            <a:r>
              <a:rPr lang="en-GB" sz="1000" kern="0" dirty="0"/>
              <a:t> proposed</a:t>
            </a:r>
          </a:p>
        </p:txBody>
      </p:sp>
      <p:sp>
        <p:nvSpPr>
          <p:cNvPr id="24" name="TextBox 23">
            <a:extLst>
              <a:ext uri="{FF2B5EF4-FFF2-40B4-BE49-F238E27FC236}">
                <a16:creationId xmlns:a16="http://schemas.microsoft.com/office/drawing/2014/main" id="{1189B957-2C20-4088-98F4-0DC452FB1C32}"/>
              </a:ext>
            </a:extLst>
          </p:cNvPr>
          <p:cNvSpPr txBox="1"/>
          <p:nvPr/>
        </p:nvSpPr>
        <p:spPr bwMode="auto">
          <a:xfrm>
            <a:off x="9141641" y="1877970"/>
            <a:ext cx="2395603" cy="10849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285750" indent="-285750">
              <a:spcAft>
                <a:spcPts val="600"/>
              </a:spcAft>
              <a:buClr>
                <a:schemeClr val="tx1"/>
              </a:buClr>
              <a:buFont typeface="Arial" panose="020B0604020202020204" pitchFamily="34" charset="0"/>
              <a:buChar char="•"/>
            </a:pPr>
            <a:r>
              <a:rPr lang="en-GB" sz="1000" kern="0" dirty="0"/>
              <a:t>Group Data Strategy updates are collaboratively developed with BU stakeholders</a:t>
            </a:r>
          </a:p>
          <a:p>
            <a:pPr marL="285750" indent="-285750">
              <a:spcAft>
                <a:spcPts val="600"/>
              </a:spcAft>
              <a:buClr>
                <a:schemeClr val="tx1"/>
              </a:buClr>
              <a:buFont typeface="Arial" panose="020B0604020202020204" pitchFamily="34" charset="0"/>
              <a:buChar char="•"/>
            </a:pPr>
            <a:r>
              <a:rPr lang="en-GB" sz="1000" kern="0" dirty="0"/>
              <a:t>Data Governance Councils active across all BUs and linked to Enterprise Data Governance</a:t>
            </a:r>
          </a:p>
          <a:p>
            <a:pPr marL="285750" indent="-285750">
              <a:spcAft>
                <a:spcPts val="600"/>
              </a:spcAft>
              <a:buClr>
                <a:schemeClr val="tx1"/>
              </a:buClr>
              <a:buFont typeface="Arial" panose="020B0604020202020204" pitchFamily="34" charset="0"/>
              <a:buChar char="•"/>
            </a:pPr>
            <a:endParaRPr lang="en-GB" sz="1000" kern="0" dirty="0"/>
          </a:p>
          <a:p>
            <a:pPr marL="285750" indent="-285750">
              <a:spcAft>
                <a:spcPts val="600"/>
              </a:spcAft>
              <a:buClr>
                <a:schemeClr val="tx1"/>
              </a:buClr>
              <a:buFont typeface="Arial" panose="020B0604020202020204" pitchFamily="34" charset="0"/>
              <a:buChar char="•"/>
            </a:pPr>
            <a:endParaRPr lang="en-GB" sz="1050" kern="0" dirty="0"/>
          </a:p>
        </p:txBody>
      </p:sp>
      <p:sp>
        <p:nvSpPr>
          <p:cNvPr id="25" name="TextBox 24">
            <a:extLst>
              <a:ext uri="{FF2B5EF4-FFF2-40B4-BE49-F238E27FC236}">
                <a16:creationId xmlns:a16="http://schemas.microsoft.com/office/drawing/2014/main" id="{E541018F-A67C-453F-A9F8-61E29003A4BD}"/>
              </a:ext>
            </a:extLst>
          </p:cNvPr>
          <p:cNvSpPr txBox="1"/>
          <p:nvPr/>
        </p:nvSpPr>
        <p:spPr bwMode="auto">
          <a:xfrm>
            <a:off x="1519178" y="3276592"/>
            <a:ext cx="2436273" cy="109611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285750" indent="-285750" algn="l">
              <a:spcAft>
                <a:spcPts val="600"/>
              </a:spcAft>
              <a:buClr>
                <a:schemeClr val="tx1"/>
              </a:buClr>
              <a:buFont typeface="Arial" panose="020B0604020202020204" pitchFamily="34" charset="0"/>
              <a:buChar char="•"/>
            </a:pPr>
            <a:r>
              <a:rPr lang="en-GB" sz="1000" b="0" kern="0" dirty="0">
                <a:solidFill>
                  <a:schemeClr val="tx1"/>
                </a:solidFill>
              </a:rPr>
              <a:t>Data Team restructured and first line recruited</a:t>
            </a:r>
          </a:p>
          <a:p>
            <a:pPr marL="285750" indent="-285750" algn="l">
              <a:spcAft>
                <a:spcPts val="600"/>
              </a:spcAft>
              <a:buClr>
                <a:schemeClr val="tx1"/>
              </a:buClr>
              <a:buFont typeface="Arial" panose="020B0604020202020204" pitchFamily="34" charset="0"/>
              <a:buChar char="•"/>
            </a:pPr>
            <a:r>
              <a:rPr lang="en-GB" sz="1000" kern="0" dirty="0"/>
              <a:t>VIA model introduced for ‘Value First’</a:t>
            </a:r>
          </a:p>
          <a:p>
            <a:pPr marL="285750" indent="-285750" algn="l">
              <a:spcAft>
                <a:spcPts val="600"/>
              </a:spcAft>
              <a:buClr>
                <a:schemeClr val="tx1"/>
              </a:buClr>
              <a:buFont typeface="Arial" panose="020B0604020202020204" pitchFamily="34" charset="0"/>
              <a:buChar char="•"/>
            </a:pPr>
            <a:r>
              <a:rPr lang="en-GB" sz="1000" kern="0" dirty="0"/>
              <a:t>Product mapping method introduced </a:t>
            </a:r>
          </a:p>
          <a:p>
            <a:pPr marL="285750" indent="-285750" algn="l">
              <a:spcAft>
                <a:spcPts val="600"/>
              </a:spcAft>
              <a:buClr>
                <a:schemeClr val="tx1"/>
              </a:buClr>
              <a:buFont typeface="Arial" panose="020B0604020202020204" pitchFamily="34" charset="0"/>
              <a:buChar char="•"/>
            </a:pPr>
            <a:r>
              <a:rPr lang="en-GB" sz="1000" b="0" kern="0" dirty="0">
                <a:solidFill>
                  <a:schemeClr val="tx1"/>
                </a:solidFill>
              </a:rPr>
              <a:t>Enterprise Data Model foundations in place</a:t>
            </a:r>
          </a:p>
        </p:txBody>
      </p:sp>
      <p:sp>
        <p:nvSpPr>
          <p:cNvPr id="26" name="TextBox 25">
            <a:extLst>
              <a:ext uri="{FF2B5EF4-FFF2-40B4-BE49-F238E27FC236}">
                <a16:creationId xmlns:a16="http://schemas.microsoft.com/office/drawing/2014/main" id="{2AD9C581-311F-46F8-881F-B170F8547B46}"/>
              </a:ext>
            </a:extLst>
          </p:cNvPr>
          <p:cNvSpPr txBox="1"/>
          <p:nvPr/>
        </p:nvSpPr>
        <p:spPr bwMode="auto">
          <a:xfrm>
            <a:off x="4138192" y="3276592"/>
            <a:ext cx="2344863" cy="8463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285750" indent="-285750" algn="l">
              <a:spcAft>
                <a:spcPts val="600"/>
              </a:spcAft>
              <a:buClr>
                <a:schemeClr val="tx1"/>
              </a:buClr>
              <a:buFont typeface="Arial" panose="020B0604020202020204" pitchFamily="34" charset="0"/>
              <a:buChar char="•"/>
            </a:pPr>
            <a:r>
              <a:rPr lang="en-GB" sz="1000" b="0" kern="0" dirty="0">
                <a:solidFill>
                  <a:schemeClr val="tx1"/>
                </a:solidFill>
              </a:rPr>
              <a:t>New recruits started, stakeholders engaged and productive</a:t>
            </a:r>
          </a:p>
          <a:p>
            <a:pPr marL="285750" indent="-285750">
              <a:spcAft>
                <a:spcPts val="600"/>
              </a:spcAft>
              <a:buClr>
                <a:schemeClr val="tx1"/>
              </a:buClr>
              <a:buFont typeface="Arial" panose="020B0604020202020204" pitchFamily="34" charset="0"/>
              <a:buChar char="•"/>
            </a:pPr>
            <a:r>
              <a:rPr lang="en-GB" sz="1000" kern="0" dirty="0"/>
              <a:t>Common backlog process in place for </a:t>
            </a:r>
            <a:r>
              <a:rPr lang="en-GB" sz="1000" kern="0" dirty="0" err="1"/>
              <a:t>GridStack</a:t>
            </a:r>
            <a:r>
              <a:rPr lang="en-GB" sz="1000" kern="0" dirty="0"/>
              <a:t> hub data products</a:t>
            </a:r>
          </a:p>
          <a:p>
            <a:pPr marL="285750" indent="-285750" algn="l">
              <a:spcAft>
                <a:spcPts val="600"/>
              </a:spcAft>
              <a:buClr>
                <a:schemeClr val="tx1"/>
              </a:buClr>
              <a:buFont typeface="Arial" panose="020B0604020202020204" pitchFamily="34" charset="0"/>
              <a:buChar char="•"/>
            </a:pPr>
            <a:r>
              <a:rPr lang="en-GB" sz="1000" b="0" kern="0" dirty="0">
                <a:solidFill>
                  <a:schemeClr val="tx1"/>
                </a:solidFill>
              </a:rPr>
              <a:t>BU Data Strateg</a:t>
            </a:r>
            <a:r>
              <a:rPr lang="en-GB" sz="1000" kern="0" dirty="0"/>
              <a:t>y method documented with GBU</a:t>
            </a:r>
            <a:endParaRPr lang="en-GB" sz="1000" b="0" kern="0" dirty="0">
              <a:solidFill>
                <a:schemeClr val="tx1"/>
              </a:solidFill>
            </a:endParaRPr>
          </a:p>
        </p:txBody>
      </p:sp>
      <p:sp>
        <p:nvSpPr>
          <p:cNvPr id="27" name="TextBox 26">
            <a:extLst>
              <a:ext uri="{FF2B5EF4-FFF2-40B4-BE49-F238E27FC236}">
                <a16:creationId xmlns:a16="http://schemas.microsoft.com/office/drawing/2014/main" id="{62A48A4F-E50D-475C-9B4C-CF04852EA9D0}"/>
              </a:ext>
            </a:extLst>
          </p:cNvPr>
          <p:cNvSpPr txBox="1"/>
          <p:nvPr/>
        </p:nvSpPr>
        <p:spPr bwMode="auto">
          <a:xfrm>
            <a:off x="6655099" y="3276592"/>
            <a:ext cx="2355559" cy="113098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285750" indent="-285750" algn="l">
              <a:spcAft>
                <a:spcPts val="600"/>
              </a:spcAft>
              <a:buClr>
                <a:schemeClr val="tx1"/>
              </a:buClr>
              <a:buFont typeface="Arial" panose="020B0604020202020204" pitchFamily="34" charset="0"/>
              <a:buChar char="•"/>
            </a:pPr>
            <a:r>
              <a:rPr lang="en-GB" sz="1000" kern="0" dirty="0"/>
              <a:t>Advanced Analytics </a:t>
            </a:r>
            <a:r>
              <a:rPr lang="en-GB" sz="1000" kern="0" dirty="0" err="1"/>
              <a:t>CoE</a:t>
            </a:r>
            <a:r>
              <a:rPr lang="en-GB" sz="1000" kern="0" dirty="0"/>
              <a:t> roles defined</a:t>
            </a:r>
          </a:p>
          <a:p>
            <a:pPr marL="285750" indent="-285750" algn="l">
              <a:spcAft>
                <a:spcPts val="600"/>
              </a:spcAft>
              <a:buClr>
                <a:schemeClr val="tx1"/>
              </a:buClr>
              <a:buFont typeface="Arial" panose="020B0604020202020204" pitchFamily="34" charset="0"/>
              <a:buChar char="•"/>
            </a:pPr>
            <a:r>
              <a:rPr lang="en-GB" sz="1000" b="0" kern="0" dirty="0" err="1">
                <a:solidFill>
                  <a:schemeClr val="tx1"/>
                </a:solidFill>
              </a:rPr>
              <a:t>Grid</a:t>
            </a:r>
            <a:r>
              <a:rPr lang="en-GB" sz="1000" kern="0" dirty="0" err="1"/>
              <a:t>Stack</a:t>
            </a:r>
            <a:r>
              <a:rPr lang="en-GB" sz="1000" kern="0" dirty="0"/>
              <a:t> data demand process defined</a:t>
            </a:r>
          </a:p>
          <a:p>
            <a:pPr marL="285750" indent="-285750" algn="l">
              <a:spcAft>
                <a:spcPts val="600"/>
              </a:spcAft>
              <a:buClr>
                <a:schemeClr val="tx1"/>
              </a:buClr>
              <a:buFont typeface="Arial" panose="020B0604020202020204" pitchFamily="34" charset="0"/>
              <a:buChar char="•"/>
            </a:pPr>
            <a:r>
              <a:rPr lang="en-GB" sz="1000" b="0" kern="0" dirty="0">
                <a:solidFill>
                  <a:schemeClr val="tx1"/>
                </a:solidFill>
              </a:rPr>
              <a:t>Delivery model for collaborative data initiatives </a:t>
            </a:r>
            <a:r>
              <a:rPr lang="en-GB" sz="1000" kern="0" dirty="0"/>
              <a:t>established</a:t>
            </a:r>
            <a:endParaRPr lang="en-GB" sz="1000" b="0" kern="0" dirty="0">
              <a:solidFill>
                <a:schemeClr val="tx1"/>
              </a:solidFill>
            </a:endParaRPr>
          </a:p>
        </p:txBody>
      </p:sp>
      <p:sp>
        <p:nvSpPr>
          <p:cNvPr id="28" name="TextBox 27">
            <a:extLst>
              <a:ext uri="{FF2B5EF4-FFF2-40B4-BE49-F238E27FC236}">
                <a16:creationId xmlns:a16="http://schemas.microsoft.com/office/drawing/2014/main" id="{98D628D2-65B8-422E-95A7-8042220D7242}"/>
              </a:ext>
            </a:extLst>
          </p:cNvPr>
          <p:cNvSpPr txBox="1"/>
          <p:nvPr/>
        </p:nvSpPr>
        <p:spPr bwMode="auto">
          <a:xfrm>
            <a:off x="9193398" y="3276592"/>
            <a:ext cx="2344862" cy="8463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285750" indent="-285750" algn="l">
              <a:spcAft>
                <a:spcPts val="600"/>
              </a:spcAft>
              <a:buClr>
                <a:schemeClr val="tx1"/>
              </a:buClr>
              <a:buFont typeface="Arial" panose="020B0604020202020204" pitchFamily="34" charset="0"/>
              <a:buChar char="•"/>
            </a:pPr>
            <a:r>
              <a:rPr lang="en-GB" sz="1000" b="0" kern="0" dirty="0">
                <a:solidFill>
                  <a:schemeClr val="tx1"/>
                </a:solidFill>
              </a:rPr>
              <a:t>Advanced Analytics </a:t>
            </a:r>
            <a:r>
              <a:rPr lang="en-GB" sz="1000" b="0" kern="0" dirty="0" err="1">
                <a:solidFill>
                  <a:schemeClr val="tx1"/>
                </a:solidFill>
              </a:rPr>
              <a:t>CoE</a:t>
            </a:r>
            <a:r>
              <a:rPr lang="en-GB" sz="1000" b="0" kern="0" dirty="0">
                <a:solidFill>
                  <a:schemeClr val="tx1"/>
                </a:solidFill>
              </a:rPr>
              <a:t> recruited and Service and Operating Model defined</a:t>
            </a:r>
          </a:p>
          <a:p>
            <a:pPr marL="285750" indent="-285750" algn="l">
              <a:spcAft>
                <a:spcPts val="600"/>
              </a:spcAft>
              <a:buClr>
                <a:schemeClr val="tx1"/>
              </a:buClr>
              <a:buFont typeface="Arial" panose="020B0604020202020204" pitchFamily="34" charset="0"/>
              <a:buChar char="•"/>
            </a:pPr>
            <a:r>
              <a:rPr lang="en-GB" sz="1000" kern="0" dirty="0"/>
              <a:t>AI/ML capabilities standardised for </a:t>
            </a:r>
            <a:r>
              <a:rPr lang="en-GB" sz="1000" kern="0" dirty="0" err="1"/>
              <a:t>GridStack</a:t>
            </a:r>
            <a:endParaRPr lang="en-GB" sz="1000" b="0" kern="0" dirty="0">
              <a:solidFill>
                <a:schemeClr val="tx1"/>
              </a:solidFill>
            </a:endParaRPr>
          </a:p>
        </p:txBody>
      </p:sp>
      <p:sp>
        <p:nvSpPr>
          <p:cNvPr id="29" name="TextBox 28">
            <a:extLst>
              <a:ext uri="{FF2B5EF4-FFF2-40B4-BE49-F238E27FC236}">
                <a16:creationId xmlns:a16="http://schemas.microsoft.com/office/drawing/2014/main" id="{0F45F7E8-B6BA-4837-8EC6-8D2FCC244632}"/>
              </a:ext>
            </a:extLst>
          </p:cNvPr>
          <p:cNvSpPr txBox="1"/>
          <p:nvPr/>
        </p:nvSpPr>
        <p:spPr bwMode="auto">
          <a:xfrm>
            <a:off x="1494716" y="4695038"/>
            <a:ext cx="2436272" cy="96444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285750" indent="-285750" algn="l">
              <a:spcAft>
                <a:spcPts val="600"/>
              </a:spcAft>
              <a:buClr>
                <a:schemeClr val="tx1"/>
              </a:buClr>
              <a:buFont typeface="Arial" panose="020B0604020202020204" pitchFamily="34" charset="0"/>
              <a:buChar char="•"/>
            </a:pPr>
            <a:r>
              <a:rPr lang="en-GB" sz="1000" kern="0" dirty="0"/>
              <a:t>BUs aligned to Data Tech Strategy</a:t>
            </a:r>
          </a:p>
          <a:p>
            <a:pPr marL="285750" indent="-285750" algn="l">
              <a:spcAft>
                <a:spcPts val="600"/>
              </a:spcAft>
              <a:buClr>
                <a:schemeClr val="tx1"/>
              </a:buClr>
              <a:buFont typeface="Arial" panose="020B0604020202020204" pitchFamily="34" charset="0"/>
              <a:buChar char="•"/>
            </a:pPr>
            <a:r>
              <a:rPr lang="en-GB" sz="1000" b="0" kern="0" dirty="0">
                <a:solidFill>
                  <a:schemeClr val="tx1"/>
                </a:solidFill>
              </a:rPr>
              <a:t>Commercials agreed with key vendors</a:t>
            </a:r>
          </a:p>
          <a:p>
            <a:pPr marL="285750" indent="-285750" algn="l">
              <a:spcAft>
                <a:spcPts val="600"/>
              </a:spcAft>
              <a:buClr>
                <a:schemeClr val="tx1"/>
              </a:buClr>
              <a:buFont typeface="Arial" panose="020B0604020202020204" pitchFamily="34" charset="0"/>
              <a:buChar char="•"/>
            </a:pPr>
            <a:r>
              <a:rPr lang="en-GB" sz="1000" b="0" kern="0" dirty="0">
                <a:solidFill>
                  <a:schemeClr val="tx1"/>
                </a:solidFill>
              </a:rPr>
              <a:t>Two BUs have value first strategic MVPs, leveraging EDP and products mapped</a:t>
            </a:r>
            <a:endParaRPr lang="en-GB" sz="1000" kern="0" dirty="0"/>
          </a:p>
          <a:p>
            <a:pPr marL="285750" indent="-285750" algn="l">
              <a:spcAft>
                <a:spcPts val="600"/>
              </a:spcAft>
              <a:buClr>
                <a:schemeClr val="tx1"/>
              </a:buClr>
              <a:buFont typeface="Arial" panose="020B0604020202020204" pitchFamily="34" charset="0"/>
              <a:buChar char="•"/>
            </a:pPr>
            <a:endParaRPr lang="en-GB" sz="1000" b="0" kern="0" dirty="0">
              <a:solidFill>
                <a:schemeClr val="tx1"/>
              </a:solidFill>
            </a:endParaRPr>
          </a:p>
        </p:txBody>
      </p:sp>
      <p:sp>
        <p:nvSpPr>
          <p:cNvPr id="30" name="TextBox 29">
            <a:extLst>
              <a:ext uri="{FF2B5EF4-FFF2-40B4-BE49-F238E27FC236}">
                <a16:creationId xmlns:a16="http://schemas.microsoft.com/office/drawing/2014/main" id="{9291B0F9-110A-4F73-B9FD-69D6ECFDBE20}"/>
              </a:ext>
            </a:extLst>
          </p:cNvPr>
          <p:cNvSpPr txBox="1"/>
          <p:nvPr/>
        </p:nvSpPr>
        <p:spPr bwMode="auto">
          <a:xfrm>
            <a:off x="4127248" y="4695039"/>
            <a:ext cx="2344863" cy="9644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285750" indent="-285750" algn="l">
              <a:spcAft>
                <a:spcPts val="600"/>
              </a:spcAft>
              <a:buClr>
                <a:schemeClr val="tx1"/>
              </a:buClr>
              <a:buFont typeface="Arial" panose="020B0604020202020204" pitchFamily="34" charset="0"/>
              <a:buChar char="•"/>
            </a:pPr>
            <a:r>
              <a:rPr lang="en-GB" sz="1000" kern="0" dirty="0"/>
              <a:t>WDD and CDP first MVP releases</a:t>
            </a:r>
          </a:p>
          <a:p>
            <a:pPr marL="285750" indent="-285750" algn="l">
              <a:spcAft>
                <a:spcPts val="600"/>
              </a:spcAft>
              <a:buClr>
                <a:schemeClr val="tx1"/>
              </a:buClr>
              <a:buFont typeface="Arial" panose="020B0604020202020204" pitchFamily="34" charset="0"/>
              <a:buChar char="•"/>
            </a:pPr>
            <a:r>
              <a:rPr lang="en-GB" sz="1000" b="0" kern="0" dirty="0">
                <a:solidFill>
                  <a:schemeClr val="tx1"/>
                </a:solidFill>
              </a:rPr>
              <a:t>Common </a:t>
            </a:r>
            <a:r>
              <a:rPr lang="en-GB" sz="1000" b="0" kern="0" dirty="0" err="1">
                <a:solidFill>
                  <a:schemeClr val="tx1"/>
                </a:solidFill>
              </a:rPr>
              <a:t>GridStack</a:t>
            </a:r>
            <a:r>
              <a:rPr lang="en-GB" sz="1000" b="0" kern="0" dirty="0">
                <a:solidFill>
                  <a:schemeClr val="tx1"/>
                </a:solidFill>
              </a:rPr>
              <a:t> data product backlog providing efficiencies and accelerating BUs</a:t>
            </a:r>
          </a:p>
          <a:p>
            <a:pPr marL="285750" indent="-285750" algn="l">
              <a:spcAft>
                <a:spcPts val="600"/>
              </a:spcAft>
              <a:buClr>
                <a:schemeClr val="tx1"/>
              </a:buClr>
              <a:buFont typeface="Arial" panose="020B0604020202020204" pitchFamily="34" charset="0"/>
              <a:buChar char="•"/>
            </a:pPr>
            <a:r>
              <a:rPr lang="en-GB" sz="1000" kern="0" dirty="0"/>
              <a:t>GBU Data Strategy set</a:t>
            </a:r>
            <a:endParaRPr lang="en-GB" sz="1000" b="0" kern="0" dirty="0">
              <a:solidFill>
                <a:schemeClr val="tx1"/>
              </a:solidFill>
            </a:endParaRPr>
          </a:p>
        </p:txBody>
      </p:sp>
      <p:sp>
        <p:nvSpPr>
          <p:cNvPr id="31" name="TextBox 30">
            <a:extLst>
              <a:ext uri="{FF2B5EF4-FFF2-40B4-BE49-F238E27FC236}">
                <a16:creationId xmlns:a16="http://schemas.microsoft.com/office/drawing/2014/main" id="{36C34FB0-9592-4826-AA46-AAB1440A7F83}"/>
              </a:ext>
            </a:extLst>
          </p:cNvPr>
          <p:cNvSpPr txBox="1"/>
          <p:nvPr/>
        </p:nvSpPr>
        <p:spPr bwMode="auto">
          <a:xfrm>
            <a:off x="6668371" y="4695038"/>
            <a:ext cx="2344862" cy="9644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285750" indent="-285750" algn="l">
              <a:spcAft>
                <a:spcPts val="600"/>
              </a:spcAft>
              <a:buClr>
                <a:schemeClr val="tx1"/>
              </a:buClr>
              <a:buFont typeface="Arial" panose="020B0604020202020204" pitchFamily="34" charset="0"/>
              <a:buChar char="•"/>
            </a:pPr>
            <a:r>
              <a:rPr lang="en-GB" sz="1000" b="0" kern="0" dirty="0">
                <a:solidFill>
                  <a:schemeClr val="tx1"/>
                </a:solidFill>
              </a:rPr>
              <a:t>EBU, US-C and Global HR </a:t>
            </a:r>
            <a:r>
              <a:rPr lang="en-GB" sz="1000" kern="0" dirty="0"/>
              <a:t>Data projects all aligned on </a:t>
            </a:r>
            <a:r>
              <a:rPr lang="en-GB" sz="1000" kern="0" dirty="0" err="1"/>
              <a:t>GridStack</a:t>
            </a:r>
            <a:endParaRPr lang="en-GB" sz="1000" kern="0" dirty="0"/>
          </a:p>
          <a:p>
            <a:pPr marL="285750" indent="-285750" algn="l">
              <a:spcAft>
                <a:spcPts val="600"/>
              </a:spcAft>
              <a:buClr>
                <a:schemeClr val="tx1"/>
              </a:buClr>
              <a:buFont typeface="Arial" panose="020B0604020202020204" pitchFamily="34" charset="0"/>
              <a:buChar char="•"/>
            </a:pPr>
            <a:r>
              <a:rPr lang="en-GB" sz="1000" kern="0" dirty="0"/>
              <a:t>Additional MVPs and BUs leveraging Data capabilities from </a:t>
            </a:r>
            <a:r>
              <a:rPr lang="en-GB" sz="1000" kern="0" dirty="0" err="1"/>
              <a:t>GridStack</a:t>
            </a:r>
            <a:endParaRPr lang="en-GB" sz="1000" b="0" kern="0" dirty="0">
              <a:solidFill>
                <a:schemeClr val="tx1"/>
              </a:solidFill>
            </a:endParaRPr>
          </a:p>
        </p:txBody>
      </p:sp>
      <p:sp>
        <p:nvSpPr>
          <p:cNvPr id="32" name="TextBox 31">
            <a:extLst>
              <a:ext uri="{FF2B5EF4-FFF2-40B4-BE49-F238E27FC236}">
                <a16:creationId xmlns:a16="http://schemas.microsoft.com/office/drawing/2014/main" id="{1BF91218-3AFA-42BA-A5F2-EBC68C5676EB}"/>
              </a:ext>
            </a:extLst>
          </p:cNvPr>
          <p:cNvSpPr txBox="1"/>
          <p:nvPr/>
        </p:nvSpPr>
        <p:spPr bwMode="auto">
          <a:xfrm>
            <a:off x="9209492" y="4695039"/>
            <a:ext cx="2344862" cy="104481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285750" indent="-285750" algn="l">
              <a:spcAft>
                <a:spcPts val="600"/>
              </a:spcAft>
              <a:buClr>
                <a:schemeClr val="tx1"/>
              </a:buClr>
              <a:buFont typeface="Arial" panose="020B0604020202020204" pitchFamily="34" charset="0"/>
              <a:buChar char="•"/>
            </a:pPr>
            <a:r>
              <a:rPr lang="en-GB" sz="1000" kern="0" dirty="0"/>
              <a:t>Advanced Analytics </a:t>
            </a:r>
            <a:r>
              <a:rPr lang="en-GB" sz="1000" kern="0" dirty="0" err="1"/>
              <a:t>CoE</a:t>
            </a:r>
            <a:r>
              <a:rPr lang="en-GB" sz="1000" kern="0" dirty="0"/>
              <a:t> adding value to BUs</a:t>
            </a:r>
          </a:p>
          <a:p>
            <a:pPr marL="285750" indent="-285750" algn="l">
              <a:spcAft>
                <a:spcPts val="600"/>
              </a:spcAft>
              <a:buClr>
                <a:schemeClr val="tx1"/>
              </a:buClr>
              <a:buFont typeface="Arial" panose="020B0604020202020204" pitchFamily="34" charset="0"/>
              <a:buChar char="•"/>
            </a:pPr>
            <a:r>
              <a:rPr lang="en-GB" sz="1000" b="0" kern="0" dirty="0">
                <a:solidFill>
                  <a:schemeClr val="tx1"/>
                </a:solidFill>
              </a:rPr>
              <a:t>Coll</a:t>
            </a:r>
            <a:r>
              <a:rPr lang="en-GB" sz="1000" kern="0" dirty="0"/>
              <a:t>aborative data initiatives delivering value</a:t>
            </a:r>
            <a:endParaRPr lang="en-GB" sz="1000" b="0" kern="0" dirty="0">
              <a:solidFill>
                <a:schemeClr val="tx1"/>
              </a:solidFill>
            </a:endParaRPr>
          </a:p>
        </p:txBody>
      </p:sp>
    </p:spTree>
    <p:extLst>
      <p:ext uri="{BB962C8B-B14F-4D97-AF65-F5344CB8AC3E}">
        <p14:creationId xmlns:p14="http://schemas.microsoft.com/office/powerpoint/2010/main" val="2731073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GhEHoXK4whdkL7U0ZyugP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1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3_US NG 2018 PPT Tempalte 4x3">
  <a:themeElements>
    <a:clrScheme name="Custom 6">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ogram_pre read ver2" id="{A81CB25E-EE61-4BFE-819D-FE3F10611981}" vid="{E09DDD7D-AE3D-4882-A428-D09D033F0BE4}"/>
    </a:ext>
  </a:extLst>
</a:theme>
</file>

<file path=ppt/theme/theme4.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D73EF154A21745A4B7D294624E0F37" ma:contentTypeVersion="6" ma:contentTypeDescription="Create a new document." ma:contentTypeScope="" ma:versionID="85f237651c4580394125c69293e39df3">
  <xsd:schema xmlns:xsd="http://www.w3.org/2001/XMLSchema" xmlns:xs="http://www.w3.org/2001/XMLSchema" xmlns:p="http://schemas.microsoft.com/office/2006/metadata/properties" xmlns:ns2="44563e85-d93e-468a-97fd-88b2feb52b2e" xmlns:ns3="701484cb-4692-40f6-9cd8-9f96d07aad89" targetNamespace="http://schemas.microsoft.com/office/2006/metadata/properties" ma:root="true" ma:fieldsID="241cd7f4fc25b44e8b4b682cdf892700" ns2:_="" ns3:_="">
    <xsd:import namespace="44563e85-d93e-468a-97fd-88b2feb52b2e"/>
    <xsd:import namespace="701484cb-4692-40f6-9cd8-9f96d07aad8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563e85-d93e-468a-97fd-88b2feb52b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01484cb-4692-40f6-9cd8-9f96d07aad8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701484cb-4692-40f6-9cd8-9f96d07aad89">
      <UserInfo>
        <DisplayName>Jones, Kenneth</DisplayName>
        <AccountId>72</AccountId>
        <AccountType/>
      </UserInfo>
      <UserInfo>
        <DisplayName>Bharj, Kam</DisplayName>
        <AccountId>33</AccountId>
        <AccountType/>
      </UserInfo>
      <UserInfo>
        <DisplayName>LoPreste, Diane</DisplayName>
        <AccountId>39</AccountId>
        <AccountType/>
      </UserInfo>
      <UserInfo>
        <DisplayName>Saiz, Maria</DisplayName>
        <AccountId>27</AccountId>
        <AccountType/>
      </UserInfo>
      <UserInfo>
        <DisplayName>Wright, Frederick</DisplayName>
        <AccountId>28</AccountId>
        <AccountType/>
      </UserInfo>
      <UserInfo>
        <DisplayName>Ajwaliya, Nishit</DisplayName>
        <AccountId>14</AccountId>
        <AccountType/>
      </UserInfo>
      <UserInfo>
        <DisplayName>Stoddart, Bronwynne</DisplayName>
        <AccountId>43</AccountId>
        <AccountType/>
      </UserInfo>
    </SharedWithUsers>
  </documentManagement>
</p:properties>
</file>

<file path=customXml/itemProps1.xml><?xml version="1.0" encoding="utf-8"?>
<ds:datastoreItem xmlns:ds="http://schemas.openxmlformats.org/officeDocument/2006/customXml" ds:itemID="{7D4E35B2-4E7A-4253-9982-441F1D015B14}">
  <ds:schemaRefs>
    <ds:schemaRef ds:uri="44563e85-d93e-468a-97fd-88b2feb52b2e"/>
    <ds:schemaRef ds:uri="701484cb-4692-40f6-9cd8-9f96d07aad8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DA3BA16-4741-4A1B-A285-10CA24DAD02B}">
  <ds:schemaRefs>
    <ds:schemaRef ds:uri="http://schemas.microsoft.com/sharepoint/v3/contenttype/forms"/>
  </ds:schemaRefs>
</ds:datastoreItem>
</file>

<file path=customXml/itemProps3.xml><?xml version="1.0" encoding="utf-8"?>
<ds:datastoreItem xmlns:ds="http://schemas.openxmlformats.org/officeDocument/2006/customXml" ds:itemID="{12010C57-888C-4112-BD05-48E991FB7874}">
  <ds:schemaRef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701484cb-4692-40f6-9cd8-9f96d07aad89"/>
    <ds:schemaRef ds:uri="44563e85-d93e-468a-97fd-88b2feb52b2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679</TotalTime>
  <Words>898</Words>
  <Application>Microsoft Office PowerPoint</Application>
  <PresentationFormat>Widescreen</PresentationFormat>
  <Paragraphs>152</Paragraphs>
  <Slides>10</Slides>
  <Notes>0</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0</vt:i4>
      </vt:variant>
    </vt:vector>
  </HeadingPairs>
  <TitlesOfParts>
    <vt:vector size="19" baseType="lpstr">
      <vt:lpstr>Arial</vt:lpstr>
      <vt:lpstr>Calibri</vt:lpstr>
      <vt:lpstr>Trebuchet MS</vt:lpstr>
      <vt:lpstr>Wingdings</vt:lpstr>
      <vt:lpstr>10_NationalGrid Grid 16:9</vt:lpstr>
      <vt:lpstr>11_NationalGrid Grid 16:9</vt:lpstr>
      <vt:lpstr>3_US NG 2018 PPT Tempalte 4x3</vt:lpstr>
      <vt:lpstr>NG_PPT_16x9_Generic_template-blue</vt:lpstr>
      <vt:lpstr>think-cell Slide</vt:lpstr>
      <vt:lpstr>NG Group Data Office</vt:lpstr>
      <vt:lpstr>Purpose of the Group Data Office</vt:lpstr>
      <vt:lpstr>How to help NG become Data Driven</vt:lpstr>
      <vt:lpstr>How to help NG become Data Driven</vt:lpstr>
      <vt:lpstr>Group Data Office Team</vt:lpstr>
      <vt:lpstr>Group Data Office Stakeholders</vt:lpstr>
      <vt:lpstr>Digital Transformation Engagement</vt:lpstr>
      <vt:lpstr>Digital Transformation Engagement</vt:lpstr>
      <vt:lpstr>Roadmap detailed – Data &amp; Analytic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son, Daniel</dc:creator>
  <cp:lastModifiedBy>Robertson, Daniel</cp:lastModifiedBy>
  <cp:revision>2</cp:revision>
  <dcterms:created xsi:type="dcterms:W3CDTF">2021-07-02T07:59:46Z</dcterms:created>
  <dcterms:modified xsi:type="dcterms:W3CDTF">2021-12-14T15:0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D73EF154A21745A4B7D294624E0F37</vt:lpwstr>
  </property>
</Properties>
</file>